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Default Extension="ti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5"/>
  </p:sldMasterIdLst>
  <p:notesMasterIdLst>
    <p:notesMasterId r:id="rId56"/>
  </p:notesMasterIdLst>
  <p:handoutMasterIdLst>
    <p:handoutMasterId r:id="rId57"/>
  </p:handoutMasterIdLst>
  <p:sldIdLst>
    <p:sldId id="329" r:id="rId6"/>
    <p:sldId id="331" r:id="rId7"/>
    <p:sldId id="332" r:id="rId8"/>
    <p:sldId id="333" r:id="rId9"/>
    <p:sldId id="336" r:id="rId10"/>
    <p:sldId id="337" r:id="rId11"/>
    <p:sldId id="335" r:id="rId12"/>
    <p:sldId id="339" r:id="rId13"/>
    <p:sldId id="340" r:id="rId14"/>
    <p:sldId id="341" r:id="rId15"/>
    <p:sldId id="342" r:id="rId16"/>
    <p:sldId id="343" r:id="rId17"/>
    <p:sldId id="345" r:id="rId18"/>
    <p:sldId id="346" r:id="rId19"/>
    <p:sldId id="347" r:id="rId20"/>
    <p:sldId id="348" r:id="rId21"/>
    <p:sldId id="349" r:id="rId22"/>
    <p:sldId id="350" r:id="rId23"/>
    <p:sldId id="351" r:id="rId24"/>
    <p:sldId id="352" r:id="rId25"/>
    <p:sldId id="353" r:id="rId26"/>
    <p:sldId id="355" r:id="rId27"/>
    <p:sldId id="356" r:id="rId28"/>
    <p:sldId id="357" r:id="rId29"/>
    <p:sldId id="358" r:id="rId30"/>
    <p:sldId id="362" r:id="rId31"/>
    <p:sldId id="363" r:id="rId32"/>
    <p:sldId id="364" r:id="rId33"/>
    <p:sldId id="365" r:id="rId34"/>
    <p:sldId id="367" r:id="rId35"/>
    <p:sldId id="366" r:id="rId36"/>
    <p:sldId id="371" r:id="rId37"/>
    <p:sldId id="372" r:id="rId38"/>
    <p:sldId id="373" r:id="rId39"/>
    <p:sldId id="374" r:id="rId40"/>
    <p:sldId id="375" r:id="rId41"/>
    <p:sldId id="376" r:id="rId42"/>
    <p:sldId id="377" r:id="rId43"/>
    <p:sldId id="378" r:id="rId44"/>
    <p:sldId id="379" r:id="rId45"/>
    <p:sldId id="380" r:id="rId46"/>
    <p:sldId id="381" r:id="rId47"/>
    <p:sldId id="382" r:id="rId48"/>
    <p:sldId id="383" r:id="rId49"/>
    <p:sldId id="385" r:id="rId50"/>
    <p:sldId id="389" r:id="rId51"/>
    <p:sldId id="386" r:id="rId52"/>
    <p:sldId id="388" r:id="rId53"/>
    <p:sldId id="361" r:id="rId54"/>
    <p:sldId id="390" r:id="rId55"/>
  </p:sldIdLst>
  <p:sldSz cx="9144000" cy="5143500" type="screen16x9"/>
  <p:notesSz cx="6797675" cy="9925050"/>
  <p:custDataLst>
    <p:tags r:id="rId58"/>
  </p:custDataLst>
  <p:defaultTextStyle>
    <a:defPPr>
      <a:defRPr lang="ru-RU"/>
    </a:defPPr>
    <a:lvl1pPr marL="0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B0B4"/>
    <a:srgbClr val="A9B6BF"/>
    <a:srgbClr val="2D8797"/>
    <a:srgbClr val="609BB4"/>
    <a:srgbClr val="789ABC"/>
    <a:srgbClr val="3993AC"/>
    <a:srgbClr val="868EBB"/>
    <a:srgbClr val="2F798D"/>
    <a:srgbClr val="2A7278"/>
    <a:srgbClr val="519F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80581" autoAdjust="0"/>
  </p:normalViewPr>
  <p:slideViewPr>
    <p:cSldViewPr snapToGrid="0">
      <p:cViewPr varScale="1">
        <p:scale>
          <a:sx n="147" d="100"/>
          <a:sy n="147" d="100"/>
        </p:scale>
        <p:origin x="264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-3816" y="-78"/>
      </p:cViewPr>
      <p:guideLst>
        <p:guide orient="horz" pos="3126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ags" Target="tags/tag1.xml"/><Relationship Id="rId66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E7EF7C-1E6C-4966-9F1D-4110EE7DA699}" type="datetime4">
              <a:rPr lang="ru-RU" smtClean="0"/>
              <a:t>31 марта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3955EB-C5FA-4472-9F9C-3FB83AFB19F6}" type="datetime4">
              <a:rPr lang="ru-RU" smtClean="0"/>
              <a:t>31 марта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4399"/>
            <a:ext cx="5438140" cy="44662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7075"/>
            <a:ext cx="2945659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етод дифференциальной-сканирующей</a:t>
            </a:r>
            <a:r>
              <a:rPr lang="ru-RU" baseline="0" dirty="0" smtClean="0"/>
              <a:t> калориметрии основан на регистрации прибором изменений при фазовых переходах, при этом получают кривые плавления и кристаллизации. Так как кристаллизация – это экзотермический процесс, верхняя кривая соответствует этому процессу, а процесс плавления – идет с поглощением теплоты – нижняя кривая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анный метод позволяет оценить основные термодинамические характеристики – температуры плавления, кристаллизации, стеклования, степень кристалличности. Также можно оценить термическую историю образца – то, при каких условиях был изготовлен данный образец. По характерным температурам и видам кривых можно идентифицировать полимеры, в некоторых случаях и в смесях.</a:t>
            </a:r>
          </a:p>
          <a:p>
            <a:r>
              <a:rPr lang="ru-RU" baseline="0" dirty="0" smtClean="0"/>
              <a:t>Отдельным типом испытания является </a:t>
            </a:r>
            <a:r>
              <a:rPr lang="en-US" baseline="0" dirty="0" smtClean="0"/>
              <a:t>OIT </a:t>
            </a:r>
            <a:r>
              <a:rPr lang="ru-RU" baseline="0" dirty="0" smtClean="0"/>
              <a:t>или определение времени окислительной индукции, суть метода заключается в нагреве образца и последующем окислении в изотерме. Данный метод позволяет оценить содержание и распределение активных форм вторичных антиоксидант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85249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скольку</a:t>
            </a:r>
            <a:r>
              <a:rPr lang="ru-RU" baseline="0" dirty="0" smtClean="0"/>
              <a:t> полимер, в отличие от других индивидуальных веществ, характеризуется неким набором молекул различной длины цепи, </a:t>
            </a:r>
            <a:r>
              <a:rPr lang="ru-RU" baseline="0" dirty="0" err="1" smtClean="0"/>
              <a:t>охрактеризовать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мольмассу</a:t>
            </a:r>
            <a:r>
              <a:rPr lang="ru-RU" baseline="0" dirty="0" smtClean="0"/>
              <a:t> полимера можно с помощью гауссова распределения. Помимо распределения для полимеров характерны не одна </a:t>
            </a:r>
            <a:r>
              <a:rPr lang="ru-RU" baseline="0" dirty="0" err="1" smtClean="0"/>
              <a:t>мольмасса</a:t>
            </a:r>
            <a:r>
              <a:rPr lang="ru-RU" baseline="0" dirty="0" smtClean="0"/>
              <a:t>, а несколько различных-  среднечисловая – среднее арифметическая., </a:t>
            </a:r>
            <a:r>
              <a:rPr lang="ru-RU" baseline="0" dirty="0" err="1" smtClean="0"/>
              <a:t>средневесовая</a:t>
            </a:r>
            <a:r>
              <a:rPr lang="ru-RU" baseline="0" dirty="0" smtClean="0"/>
              <a:t>, учитывающая вклад различных фракций, средняя. Ширину ММР можно оценить как отношение </a:t>
            </a:r>
            <a:r>
              <a:rPr lang="ru-RU" baseline="0" dirty="0" err="1" smtClean="0"/>
              <a:t>средневесовой</a:t>
            </a:r>
            <a:r>
              <a:rPr lang="ru-RU" baseline="0" dirty="0" smtClean="0"/>
              <a:t> к среднечисловой </a:t>
            </a:r>
            <a:r>
              <a:rPr lang="ru-RU" baseline="0" dirty="0" err="1" smtClean="0"/>
              <a:t>Мв</a:t>
            </a:r>
            <a:r>
              <a:rPr lang="ru-RU" baseline="0" dirty="0" smtClean="0"/>
              <a:t>. По виду распределений можно классифицировать как </a:t>
            </a:r>
            <a:r>
              <a:rPr lang="ru-RU" baseline="0" dirty="0" err="1" smtClean="0"/>
              <a:t>уни</a:t>
            </a:r>
            <a:r>
              <a:rPr lang="ru-RU" baseline="0" dirty="0" smtClean="0"/>
              <a:t>/мономодальное, когда это один пик, и бимодальное – сдвоенный. При этом, полимеры с различными ММХ имеют различные физико-механические и реологические свойства, которые оказывают влияние на процесс переработки и эксплуатации. Например, для волоконных и </a:t>
            </a:r>
            <a:r>
              <a:rPr lang="ru-RU" baseline="0" dirty="0" err="1" smtClean="0"/>
              <a:t>рафийных</a:t>
            </a:r>
            <a:r>
              <a:rPr lang="ru-RU" baseline="0" dirty="0" smtClean="0"/>
              <a:t> марок, нетканых материалов требуется </a:t>
            </a:r>
            <a:r>
              <a:rPr lang="ru-RU" baseline="0" dirty="0" err="1" smtClean="0"/>
              <a:t>полипроплилен</a:t>
            </a:r>
            <a:r>
              <a:rPr lang="ru-RU" baseline="0" dirty="0" smtClean="0"/>
              <a:t> с узким мономодальным распределением, ширина около 3. А для трубных марок полиэтилена высокой плотности важно бимодальное распределение для </a:t>
            </a:r>
            <a:r>
              <a:rPr lang="ru-RU" baseline="0" dirty="0" err="1" smtClean="0"/>
              <a:t>перерабатываемости</a:t>
            </a:r>
            <a:r>
              <a:rPr lang="ru-RU" baseline="0" dirty="0" smtClean="0"/>
              <a:t> и эксплуатационных характеристик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2003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Теперь</a:t>
            </a:r>
            <a:r>
              <a:rPr lang="ru-RU" baseline="0" dirty="0" smtClean="0"/>
              <a:t> рассмотрим </a:t>
            </a:r>
            <a:r>
              <a:rPr lang="ru-RU" baseline="0" dirty="0" err="1" smtClean="0"/>
              <a:t>препаративные</a:t>
            </a:r>
            <a:r>
              <a:rPr lang="ru-RU" baseline="0" dirty="0" smtClean="0"/>
              <a:t> методы, где происходит выделение как либо вещества. Представленные на слайде методы можно также отнести к термическим, так как во всех них происходит нагрев образца. Метод по определению массовой доли содержания летучих достаточно прост в проведении, суть сводится к определению потери массы после сушки при </a:t>
            </a:r>
            <a:r>
              <a:rPr lang="ru-RU" baseline="0" dirty="0" err="1" smtClean="0"/>
              <a:t>температуе</a:t>
            </a:r>
            <a:r>
              <a:rPr lang="ru-RU" baseline="0" dirty="0" smtClean="0"/>
              <a:t> 105С. К летучим относятся как различные низкомолекулярные компоненты (остатки мономера, </a:t>
            </a:r>
            <a:r>
              <a:rPr lang="ru-RU" baseline="0" dirty="0" err="1" smtClean="0"/>
              <a:t>ди</a:t>
            </a:r>
            <a:r>
              <a:rPr lang="ru-RU" baseline="0" dirty="0" smtClean="0"/>
              <a:t> и </a:t>
            </a:r>
            <a:r>
              <a:rPr lang="ru-RU" baseline="0" dirty="0" err="1" smtClean="0"/>
              <a:t>тримеры</a:t>
            </a:r>
            <a:r>
              <a:rPr lang="ru-RU" baseline="0" dirty="0" smtClean="0"/>
              <a:t> и т.д.), так и влага. Превышение этого параметра может привести к образованию пузырей на изделиях, обрывности (при производстве пленок). Особенно критичным данный параметр является для трубных марок полиэтиленов, так как повышенное содержание летучих может привести к </a:t>
            </a:r>
            <a:r>
              <a:rPr lang="ru-RU" baseline="0" dirty="0" err="1" smtClean="0"/>
              <a:t>шероватости</a:t>
            </a:r>
            <a:r>
              <a:rPr lang="ru-RU" baseline="0" dirty="0" smtClean="0"/>
              <a:t> труб, появлению дефектов, что может привести к разрушению при эксплуатаци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Метод по определению содержания золы необходим для определения соответствия рецептуре в наполненных композициях, кроме того повышенное содержание может приводить к отложениям на оборудовании. Суть метода заключается в </a:t>
            </a:r>
            <a:r>
              <a:rPr lang="ru-RU" baseline="0" dirty="0" err="1" smtClean="0"/>
              <a:t>озолении</a:t>
            </a:r>
            <a:r>
              <a:rPr lang="ru-RU" baseline="0" dirty="0" smtClean="0"/>
              <a:t> образца в муфельной печи до постоянной массы.</a:t>
            </a:r>
          </a:p>
          <a:p>
            <a:r>
              <a:rPr lang="ru-RU" baseline="0" dirty="0" smtClean="0"/>
              <a:t>Определение содержания сажи</a:t>
            </a:r>
            <a:r>
              <a:rPr lang="en-US" baseline="0" dirty="0" smtClean="0"/>
              <a:t> </a:t>
            </a:r>
            <a:r>
              <a:rPr lang="ru-RU" baseline="0" dirty="0" smtClean="0"/>
              <a:t>проводят путем прокаливания образца в бескислородной среде до полного разложения полимерной матрицы. Сажу вводят в основном для </a:t>
            </a:r>
            <a:r>
              <a:rPr lang="ru-RU" baseline="0" dirty="0" err="1" smtClean="0"/>
              <a:t>светостабилизации</a:t>
            </a:r>
            <a:r>
              <a:rPr lang="ru-RU" baseline="0" dirty="0" smtClean="0"/>
              <a:t>, например в трубные марки или кабельную изоляцию.</a:t>
            </a:r>
          </a:p>
          <a:p>
            <a:endParaRPr lang="ru-RU" baseline="0" dirty="0" smtClean="0"/>
          </a:p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53546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алее</a:t>
            </a:r>
            <a:r>
              <a:rPr lang="ru-RU" baseline="0" dirty="0" smtClean="0"/>
              <a:t> рассмотрим экстракционные методы, </a:t>
            </a:r>
            <a:r>
              <a:rPr lang="en-US" baseline="0" dirty="0" smtClean="0"/>
              <a:t>XS, </a:t>
            </a:r>
            <a:r>
              <a:rPr lang="ru-RU" baseline="0" dirty="0" smtClean="0"/>
              <a:t>или растворимые в ксилоле,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5453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49992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5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042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слайде представлены характеристические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дск</a:t>
            </a:r>
            <a:r>
              <a:rPr lang="ru-RU" baseline="0" dirty="0" smtClean="0"/>
              <a:t>-кривые различных полиэтиленов. Так, Полиэтилен высокой плотности, получаемый каталитически, имеет незначительное количество короткоцепочечных ответвлений, характеризуется высокой кристалличностью – до 80 %</a:t>
            </a:r>
            <a:r>
              <a:rPr lang="en-US" baseline="0" dirty="0" smtClean="0"/>
              <a:t>, Tm – 134C. </a:t>
            </a:r>
          </a:p>
          <a:p>
            <a:r>
              <a:rPr lang="ru-RU" baseline="0" dirty="0" smtClean="0"/>
              <a:t>Линейный полиэтилен низкой плотности имеет большее количество короткоцепочечных ответвлений, более разветвленную структуру – кристалличность 40 %, </a:t>
            </a:r>
            <a:r>
              <a:rPr lang="en-US" baseline="0" dirty="0" smtClean="0"/>
              <a:t>Tm – 122. </a:t>
            </a:r>
            <a:r>
              <a:rPr lang="ru-RU" baseline="0" dirty="0" smtClean="0"/>
              <a:t>Также есть</a:t>
            </a:r>
            <a:r>
              <a:rPr lang="en-US" baseline="0" dirty="0" smtClean="0"/>
              <a:t>,</a:t>
            </a:r>
            <a:r>
              <a:rPr lang="ru-RU" baseline="0" dirty="0" smtClean="0"/>
              <a:t> как правило</a:t>
            </a:r>
            <a:r>
              <a:rPr lang="en-US" baseline="0" dirty="0" smtClean="0"/>
              <a:t>,</a:t>
            </a:r>
            <a:r>
              <a:rPr lang="ru-RU" baseline="0" dirty="0" smtClean="0"/>
              <a:t> перегиб в области 110С,</a:t>
            </a:r>
            <a:r>
              <a:rPr lang="en-US" baseline="0" dirty="0" smtClean="0"/>
              <a:t> </a:t>
            </a:r>
            <a:r>
              <a:rPr lang="ru-RU" baseline="0" dirty="0" smtClean="0"/>
              <a:t>характеризующий фракцию, насыщенную </a:t>
            </a:r>
            <a:r>
              <a:rPr lang="ru-RU" baseline="0" dirty="0" err="1" smtClean="0"/>
              <a:t>сомономером</a:t>
            </a:r>
            <a:r>
              <a:rPr lang="ru-RU" baseline="0" dirty="0" smtClean="0"/>
              <a:t> (бутеном или </a:t>
            </a:r>
            <a:r>
              <a:rPr lang="ru-RU" baseline="0" dirty="0" err="1" smtClean="0"/>
              <a:t>гексеном</a:t>
            </a:r>
            <a:r>
              <a:rPr lang="ru-RU" baseline="0" dirty="0" smtClean="0"/>
              <a:t>).</a:t>
            </a:r>
          </a:p>
          <a:p>
            <a:r>
              <a:rPr lang="ru-RU" baseline="0" dirty="0" smtClean="0"/>
              <a:t>И, наконец, полиэтилен низкой плотности (или ПЭВД – высокого давления), получаемый по радикальному механизму, имеет большое число как коротко-, так и длинноцепочечных ответвлений, </a:t>
            </a:r>
            <a:r>
              <a:rPr lang="en-US" baseline="0" dirty="0" smtClean="0"/>
              <a:t>Tm – 105-110C,</a:t>
            </a:r>
            <a:r>
              <a:rPr lang="ru-RU" baseline="0" dirty="0" smtClean="0"/>
              <a:t>также на кривой кристаллизации есть как правило пик 60С, характеризующий наиболее разветвленную аморфную фракцию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2683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</a:t>
            </a:r>
            <a:r>
              <a:rPr lang="ru-RU" baseline="0" dirty="0" smtClean="0"/>
              <a:t> этом слайде мы видим типичные </a:t>
            </a:r>
            <a:r>
              <a:rPr lang="ru-RU" baseline="0" dirty="0" err="1" smtClean="0"/>
              <a:t>дск</a:t>
            </a:r>
            <a:r>
              <a:rPr lang="ru-RU" baseline="0" dirty="0" smtClean="0"/>
              <a:t>-кривые полипропиленов. </a:t>
            </a:r>
            <a:r>
              <a:rPr lang="ru-RU" baseline="0" dirty="0" err="1" smtClean="0"/>
              <a:t>Гомополипропилен</a:t>
            </a:r>
            <a:r>
              <a:rPr lang="ru-RU" baseline="0" dirty="0" smtClean="0"/>
              <a:t> характеризуется высокой кристалличностью – 50-55%, температура плавления – 160-165С. Статистический или рандом сополимер пропилена с этиленом содержит до 5 % масс. этилена, обладает более низким значением кристалличности и температурой плавления – 140-155С</a:t>
            </a:r>
            <a:r>
              <a:rPr lang="en-US" baseline="0" dirty="0" smtClean="0"/>
              <a:t>, </a:t>
            </a:r>
            <a:r>
              <a:rPr lang="ru-RU" baseline="0" dirty="0" smtClean="0"/>
              <a:t>также часто присутствует перегиб в области 130С, </a:t>
            </a:r>
            <a:r>
              <a:rPr lang="ru-RU" baseline="0" dirty="0" err="1" smtClean="0"/>
              <a:t>соответствующейй</a:t>
            </a:r>
            <a:r>
              <a:rPr lang="ru-RU" baseline="0" dirty="0" smtClean="0"/>
              <a:t> фракции, насыщенной </a:t>
            </a:r>
            <a:r>
              <a:rPr lang="ru-RU" baseline="0" dirty="0" err="1" smtClean="0"/>
              <a:t>сомономером</a:t>
            </a:r>
            <a:r>
              <a:rPr lang="ru-RU" baseline="0" dirty="0" smtClean="0"/>
              <a:t>. Блок-сополимер пропилена с этиленом содержит до 20% этилена и является </a:t>
            </a:r>
            <a:r>
              <a:rPr lang="ru-RU" baseline="0" dirty="0" err="1" smtClean="0"/>
              <a:t>гетерофазным</a:t>
            </a:r>
            <a:r>
              <a:rPr lang="ru-RU" baseline="0" dirty="0" smtClean="0"/>
              <a:t> полимером, его синтез проводится в нескольких реакторах, сначала получают </a:t>
            </a:r>
            <a:r>
              <a:rPr lang="ru-RU" baseline="0" dirty="0" err="1" smtClean="0"/>
              <a:t>гомополипропилен</a:t>
            </a:r>
            <a:r>
              <a:rPr lang="ru-RU" baseline="0" dirty="0" smtClean="0"/>
              <a:t>, затем к нему добавляют </a:t>
            </a:r>
            <a:r>
              <a:rPr lang="ru-RU" baseline="0" dirty="0" err="1" smtClean="0"/>
              <a:t>эластомерную</a:t>
            </a:r>
            <a:r>
              <a:rPr lang="ru-RU" baseline="0" dirty="0" smtClean="0"/>
              <a:t> пропилен-этиленовую фракцию. Для Блок-сополимера характерна похожая на </a:t>
            </a:r>
            <a:r>
              <a:rPr lang="en-US" baseline="0" dirty="0" smtClean="0"/>
              <a:t>PPH </a:t>
            </a:r>
            <a:r>
              <a:rPr lang="ru-RU" baseline="0" dirty="0" smtClean="0"/>
              <a:t>температура плавления 160-167С, отличительной чертой является присутствие перегиба на кривой плавления в области 110-120С, а также низкая температура стеклования минус30-40С, у </a:t>
            </a:r>
            <a:r>
              <a:rPr lang="en-US" baseline="0" dirty="0" smtClean="0"/>
              <a:t>PPH – </a:t>
            </a:r>
            <a:r>
              <a:rPr lang="ru-RU" baseline="0" dirty="0" smtClean="0"/>
              <a:t>около нол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4192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</a:t>
            </a:r>
            <a:r>
              <a:rPr lang="ru-RU" baseline="0" dirty="0" smtClean="0"/>
              <a:t> уже было сказано, метод ДСК может применяться для идентификации полимеров в смесях. Давайте теперь рассмотрим пример и подумаем, какие полимеры представлены на графике. Можете писать свои предположения в чате.</a:t>
            </a:r>
          </a:p>
          <a:p>
            <a:r>
              <a:rPr lang="ru-RU" baseline="0" dirty="0" smtClean="0"/>
              <a:t>Да, это полиэтилен высокой плотности и полипропилен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6602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Теперь давайте рассмотрим практический пример. К нам поступили изделия - проушины из </a:t>
            </a:r>
            <a:r>
              <a:rPr lang="en-US" baseline="0" dirty="0" smtClean="0"/>
              <a:t>LLDPE,</a:t>
            </a:r>
            <a:r>
              <a:rPr lang="ru-RU" baseline="0" dirty="0" smtClean="0"/>
              <a:t> у одного из которых –претензионного была нарушена геометрия, необходимо было определить материал, и причину коробления. ДСК-анализ показал, что претензионное изделие содержит помимо </a:t>
            </a:r>
            <a:r>
              <a:rPr lang="en-US" baseline="0" dirty="0" smtClean="0"/>
              <a:t>LLDPE </a:t>
            </a:r>
            <a:r>
              <a:rPr lang="ru-RU" baseline="0" dirty="0" smtClean="0"/>
              <a:t>небольшое количество (около 3 %) полипропилена. Известно, что </a:t>
            </a:r>
            <a:r>
              <a:rPr lang="en-US" baseline="0" dirty="0" smtClean="0"/>
              <a:t>PP </a:t>
            </a:r>
            <a:r>
              <a:rPr lang="ru-RU" baseline="0" dirty="0" smtClean="0"/>
              <a:t>и</a:t>
            </a:r>
            <a:r>
              <a:rPr lang="en-US" baseline="0" dirty="0" smtClean="0"/>
              <a:t> PE </a:t>
            </a:r>
            <a:r>
              <a:rPr lang="ru-RU" baseline="0" dirty="0" smtClean="0"/>
              <a:t>имеют плохое сродство по отношению друг к другу в смесях, что, </a:t>
            </a:r>
            <a:r>
              <a:rPr lang="ru-RU" baseline="0" dirty="0" err="1" smtClean="0"/>
              <a:t>повидимому</a:t>
            </a:r>
            <a:r>
              <a:rPr lang="ru-RU" baseline="0" dirty="0" smtClean="0"/>
              <a:t>, и послужило причиной нарушения геометрии.</a:t>
            </a:r>
          </a:p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3382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Такж</a:t>
            </a:r>
            <a:r>
              <a:rPr lang="ru-RU" baseline="0" dirty="0" smtClean="0"/>
              <a:t>е дифференциальная сканирующая калориметрия позволяет оценить присутствие </a:t>
            </a:r>
            <a:r>
              <a:rPr lang="ru-RU" baseline="0" dirty="0" err="1" smtClean="0"/>
              <a:t>нуклеирующих</a:t>
            </a:r>
            <a:r>
              <a:rPr lang="ru-RU" baseline="0" dirty="0" smtClean="0"/>
              <a:t> добавок по температуре кристаллизации. Введение </a:t>
            </a:r>
            <a:r>
              <a:rPr lang="ru-RU" baseline="0" dirty="0" err="1" smtClean="0"/>
              <a:t>нуклеаторов</a:t>
            </a:r>
            <a:r>
              <a:rPr lang="ru-RU" baseline="0" dirty="0" smtClean="0"/>
              <a:t> увеличивает температуры кристаллизации, они выступают центрами зародышеобразования. Образующиеся кристаллические структуры – сферолиты – имеют меньший размер, и их количество больше по сравнению с полимером без </a:t>
            </a:r>
            <a:r>
              <a:rPr lang="ru-RU" baseline="0" dirty="0" err="1" smtClean="0"/>
              <a:t>нуклеаторов</a:t>
            </a:r>
            <a:r>
              <a:rPr lang="ru-RU" baseline="0" dirty="0" smtClean="0"/>
              <a:t>. В результате, введение </a:t>
            </a:r>
            <a:r>
              <a:rPr lang="ru-RU" baseline="0" dirty="0" err="1" smtClean="0"/>
              <a:t>нуклеаторов</a:t>
            </a:r>
            <a:r>
              <a:rPr lang="ru-RU" baseline="0" dirty="0" smtClean="0"/>
              <a:t> приводит к увеличению температуры кристаллизации, улучшению прозрачности, а также ускорению цикла при переработке, так как изделие начинает затвердевать уже при более высоких температурах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4559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ледующим методом,</a:t>
            </a:r>
            <a:r>
              <a:rPr lang="ru-RU" baseline="0" dirty="0" smtClean="0"/>
              <a:t> о котором хотелось бы поговорить – является ИК-</a:t>
            </a:r>
            <a:r>
              <a:rPr lang="ru-RU" baseline="0" dirty="0" err="1" smtClean="0"/>
              <a:t>фурье</a:t>
            </a:r>
            <a:r>
              <a:rPr lang="ru-RU" baseline="0" dirty="0" smtClean="0"/>
              <a:t> спектроскопия. Под действием ИК-излучения различные функциональные группы молекулы поглощают разные длины волн излучения, в результате регистрируется спектр. ИК-спектр является своего рода отпечатком пальцев для химических веществ. Существует несколько инструментальных подходов в ИК-спектроскопии, одними из которых являются спектроскопия пропускания, в этом случае свет проходит через образец, в результате получается достаточно насыщенный спектр, можно не только проводить качественный анализ – что за полимер, какие добавки? Но и проводить количественный анализ – сколько? Содержание </a:t>
            </a:r>
            <a:r>
              <a:rPr lang="ru-RU" baseline="0" dirty="0" err="1" smtClean="0"/>
              <a:t>сомономера</a:t>
            </a:r>
            <a:r>
              <a:rPr lang="ru-RU" baseline="0" dirty="0" smtClean="0"/>
              <a:t> в рандом-сополимере, в блок-сополимере. У данного подхода есть ограничения – нельзя анализировать черные образцы, также лимитирована толщина образца. Вторым методом является метод нарушенного полного внутреннего отражения, в этом случае образец помещается на кристалл, прижимается, и анализу подвергается приповерхностный слой до 10-20мкм. Таким образом можно получить </a:t>
            </a:r>
            <a:r>
              <a:rPr lang="ru-RU" baseline="0" dirty="0" err="1" smtClean="0"/>
              <a:t>ик</a:t>
            </a:r>
            <a:r>
              <a:rPr lang="ru-RU" baseline="0" dirty="0" smtClean="0"/>
              <a:t>-спектр из определенной области образца (изделия), например дефекта, загрязнения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27881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 данном слайде представлен пример применения</a:t>
            </a:r>
            <a:r>
              <a:rPr lang="ru-RU" baseline="0" dirty="0" smtClean="0"/>
              <a:t> метода ИК при работе с обращениями. Было расследовано обращение по наличию дефектов и обрывов пленки из </a:t>
            </a:r>
            <a:r>
              <a:rPr lang="en-US" baseline="0" dirty="0" smtClean="0"/>
              <a:t>PPH 031BF/3</a:t>
            </a:r>
            <a:r>
              <a:rPr lang="ru-RU" baseline="0" dirty="0" smtClean="0"/>
              <a:t>. (далее выводы со слайда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72844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алее</a:t>
            </a:r>
            <a:r>
              <a:rPr lang="ru-RU" baseline="0" dirty="0" smtClean="0"/>
              <a:t> рассмотрим методы хроматографии. В основе любого </a:t>
            </a:r>
            <a:r>
              <a:rPr lang="ru-RU" baseline="0" dirty="0" err="1" smtClean="0"/>
              <a:t>хроматографического</a:t>
            </a:r>
            <a:r>
              <a:rPr lang="ru-RU" baseline="0" dirty="0" smtClean="0"/>
              <a:t> метода лежит следующая схема – образец в газообразном или жидком виде вводится в прибор, затем происходит разделение компонентов в колонке, которые на выходе попадают в детектор, сигнал регистрируется, преобразуется и на выходе мы видим </a:t>
            </a:r>
            <a:r>
              <a:rPr lang="ru-RU" baseline="0" dirty="0" err="1" smtClean="0"/>
              <a:t>хроматограмму</a:t>
            </a:r>
            <a:r>
              <a:rPr lang="ru-RU" baseline="0" dirty="0" smtClean="0"/>
              <a:t> – график, где время выхода пика соответствует определенному веществу, а площадь пика – его концентрации. Принципом разделения в газовой и жидкостной хроматографии является различные сорбционные взаимодействия между неподвижной фазой в колонке и образцом. При этом в жидкостной хроматографии также есть сорбционные взаимодействия между подвижной жидкой фазой (элюентом) и неподвижной фазой колонки, а также взаимодействия между элюентом и разделяемым веществом. В газовой хроматографии есть взаимодействие только между неподвижной фазой и разделяемыми веществами. Газовая и ВЭЖХ используются для </a:t>
            </a:r>
            <a:r>
              <a:rPr lang="ru-RU" baseline="0" dirty="0" err="1" smtClean="0"/>
              <a:t>идентифкации</a:t>
            </a:r>
            <a:r>
              <a:rPr lang="ru-RU" baseline="0" dirty="0" smtClean="0"/>
              <a:t> добавок и определения их концентрации. ГХ используется для идентификации и количественного определения веществ с </a:t>
            </a:r>
            <a:r>
              <a:rPr lang="ru-RU" baseline="0" dirty="0" err="1" smtClean="0"/>
              <a:t>мольмассой</a:t>
            </a:r>
            <a:r>
              <a:rPr lang="ru-RU" baseline="0" dirty="0" smtClean="0"/>
              <a:t> не более 500-</a:t>
            </a:r>
            <a:r>
              <a:rPr lang="en-US" baseline="0" dirty="0" smtClean="0"/>
              <a:t>700</a:t>
            </a:r>
            <a:r>
              <a:rPr lang="ru-RU" baseline="0" dirty="0" smtClean="0"/>
              <a:t>г/моль (добавки (антиоксиданты, слип)). ВЭЖХ также служит для количеств и качеств. анализа, определения соответствию заявленной рецептуре, но не ограничивает по летучести.</a:t>
            </a:r>
          </a:p>
          <a:p>
            <a:r>
              <a:rPr lang="ru-RU" baseline="0" dirty="0" smtClean="0"/>
              <a:t> Гель-проникающая или </a:t>
            </a:r>
            <a:r>
              <a:rPr lang="ru-RU" baseline="0" dirty="0" err="1" smtClean="0"/>
              <a:t>эксклюзионная</a:t>
            </a:r>
            <a:r>
              <a:rPr lang="ru-RU" baseline="0" dirty="0" smtClean="0"/>
              <a:t> хроматография – разделение происходит по размеру молекул, при прохождении через колонку большие молекулы не входят внутрь пор, поэтому выходят первыми, в то время как молекулы </a:t>
            </a:r>
            <a:r>
              <a:rPr lang="ru-RU" baseline="0" dirty="0" err="1" smtClean="0"/>
              <a:t>небльших</a:t>
            </a:r>
            <a:r>
              <a:rPr lang="ru-RU" baseline="0" dirty="0" smtClean="0"/>
              <a:t> размеров проходят вглубь пор, в результате выходят позже. ГПХ позволяет оценить молекулярно-массовые характеристики полимера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728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3"/>
          <p:cNvSpPr/>
          <p:nvPr userDrawn="1"/>
        </p:nvSpPr>
        <p:spPr>
          <a:xfrm>
            <a:off x="0" y="0"/>
            <a:ext cx="9144000" cy="5140071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-3429"/>
            <a:ext cx="9144000" cy="5143500"/>
          </a:xfrm>
          <a:prstGeom prst="rect">
            <a:avLst/>
          </a:prstGeom>
          <a:gradFill>
            <a:gsLst>
              <a:gs pos="0">
                <a:srgbClr val="308288">
                  <a:alpha val="54000"/>
                </a:srgbClr>
              </a:gs>
              <a:gs pos="67000">
                <a:schemeClr val="accent1">
                  <a:alpha val="17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1051130" y="1400493"/>
            <a:ext cx="7216570" cy="1441767"/>
          </a:xfrm>
          <a:effectLst/>
        </p:spPr>
        <p:txBody>
          <a:bodyPr>
            <a:normAutofit/>
          </a:bodyPr>
          <a:lstStyle>
            <a:lvl1pPr>
              <a:defRPr lang="ru-RU" sz="40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51130" y="2842260"/>
            <a:ext cx="7224190" cy="411480"/>
          </a:xfrm>
          <a:effectLst/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50925" y="3474719"/>
            <a:ext cx="3498215" cy="975043"/>
          </a:xfrm>
          <a:effectLst/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Иванов </a:t>
            </a:r>
            <a:r>
              <a:rPr lang="ru-RU" dirty="0"/>
              <a:t>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</a:t>
            </a:r>
            <a:r>
              <a:rPr lang="ru-RU" dirty="0" smtClean="0"/>
              <a:t>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5265420" y="3474719"/>
            <a:ext cx="3032760" cy="975043"/>
          </a:xfrm>
          <a:effectLst/>
        </p:spPr>
        <p:txBody>
          <a:bodyPr/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проведения </a:t>
            </a:r>
            <a:r>
              <a:rPr lang="ru-RU" dirty="0" smtClean="0"/>
              <a:t>презентации</a:t>
            </a:r>
            <a:endParaRPr lang="ru-RU" dirty="0"/>
          </a:p>
          <a:p>
            <a:pPr lvl="0"/>
            <a:r>
              <a:rPr lang="ru-RU" dirty="0" smtClean="0"/>
              <a:t>Дата</a:t>
            </a:r>
            <a:endParaRPr lang="ru-RU" dirty="0"/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650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 userDrawn="1"/>
        </p:nvSpPr>
        <p:spPr>
          <a:xfrm>
            <a:off x="9174364" y="1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 smtClean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 smtClean="0">
                <a:solidFill>
                  <a:schemeClr val="bg1"/>
                </a:solidFill>
              </a:rPr>
            </a:br>
            <a:r>
              <a:rPr lang="ru-RU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63" rtl="0" eaLnBrk="1" latinLnBrk="0" hangingPunct="1"/>
            <a:endParaRPr lang="ru-RU" sz="800" b="1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3" indent="-182563" algn="l" defTabSz="779163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 smtClean="0">
                <a:solidFill>
                  <a:schemeClr val="bg1"/>
                </a:solidFill>
              </a:rPr>
              <a:t>Корп.шрифт</a:t>
            </a:r>
            <a:r>
              <a:rPr lang="ru-RU" sz="800" b="0" dirty="0" smtClean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 smtClean="0">
                <a:solidFill>
                  <a:schemeClr val="bg1"/>
                </a:solidFill>
              </a:rPr>
              <a:t> </a:t>
            </a:r>
            <a:r>
              <a:rPr lang="ru-RU" sz="800" baseline="0" dirty="0" smtClean="0">
                <a:solidFill>
                  <a:schemeClr val="bg1"/>
                </a:solidFill>
              </a:rPr>
              <a:t>–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en-US" sz="800" b="1" dirty="0" smtClean="0">
                <a:solidFill>
                  <a:schemeClr val="bg1"/>
                </a:solidFill>
              </a:rPr>
              <a:t>Arial</a:t>
            </a:r>
            <a:r>
              <a:rPr lang="ru-RU" sz="800" dirty="0" smtClean="0">
                <a:solidFill>
                  <a:schemeClr val="bg1"/>
                </a:solidFill>
              </a:rPr>
              <a:t> (</a:t>
            </a:r>
            <a:r>
              <a:rPr lang="ru-RU" sz="800" i="1" dirty="0" smtClean="0">
                <a:solidFill>
                  <a:schemeClr val="bg1"/>
                </a:solidFill>
              </a:rPr>
              <a:t>д</a:t>
            </a:r>
            <a:r>
              <a:rPr lang="ru-RU" sz="800" i="1" baseline="0" dirty="0" smtClean="0">
                <a:solidFill>
                  <a:schemeClr val="bg1"/>
                </a:solidFill>
              </a:rPr>
              <a:t>опустимо:</a:t>
            </a:r>
            <a:r>
              <a:rPr lang="ru-RU" sz="800" baseline="0" dirty="0" smtClean="0">
                <a:solidFill>
                  <a:schemeClr val="bg1"/>
                </a:solidFill>
              </a:rPr>
              <a:t> </a:t>
            </a:r>
            <a:r>
              <a:rPr lang="en-US" sz="800" baseline="0" dirty="0" smtClean="0">
                <a:solidFill>
                  <a:schemeClr val="bg1"/>
                </a:solidFill>
              </a:rPr>
              <a:t>Arial Narrow</a:t>
            </a:r>
            <a:r>
              <a:rPr lang="ru-RU" sz="800" baseline="0" dirty="0" smtClean="0">
                <a:solidFill>
                  <a:schemeClr val="bg1"/>
                </a:solidFill>
              </a:rPr>
              <a:t>)</a:t>
            </a: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 smtClean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 smtClean="0">
                <a:solidFill>
                  <a:schemeClr val="bg1"/>
                </a:solidFill>
              </a:rPr>
              <a:t>пт</a:t>
            </a:r>
            <a:endParaRPr lang="ru-RU" sz="800" b="1" baseline="0" dirty="0" smtClean="0">
              <a:solidFill>
                <a:schemeClr val="bg1"/>
              </a:solidFill>
            </a:endParaRP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 smtClean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 smtClean="0">
                <a:solidFill>
                  <a:schemeClr val="bg1"/>
                </a:solidFill>
              </a:rPr>
              <a:t>1</a:t>
            </a:r>
            <a:r>
              <a:rPr lang="ru-RU" sz="800" b="1" baseline="0" dirty="0" smtClean="0">
                <a:solidFill>
                  <a:schemeClr val="bg1"/>
                </a:solidFill>
              </a:rPr>
              <a:t>2 </a:t>
            </a:r>
            <a:r>
              <a:rPr lang="ru-RU" sz="800" b="1" baseline="0" dirty="0" err="1" smtClean="0">
                <a:solidFill>
                  <a:schemeClr val="bg1"/>
                </a:solidFill>
              </a:rPr>
              <a:t>пт</a:t>
            </a:r>
            <a:endParaRPr lang="ru-RU" sz="800" b="1" baseline="0" dirty="0" smtClean="0">
              <a:solidFill>
                <a:schemeClr val="bg1"/>
              </a:solidFill>
            </a:endParaRP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 smtClean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 smtClean="0">
                <a:solidFill>
                  <a:schemeClr val="bg1"/>
                </a:solidFill>
              </a:rPr>
              <a:t>8</a:t>
            </a:r>
            <a:r>
              <a:rPr lang="ru-RU" sz="800" b="1" baseline="0" dirty="0" smtClean="0">
                <a:solidFill>
                  <a:schemeClr val="bg1"/>
                </a:solidFill>
              </a:rPr>
              <a:t> </a:t>
            </a:r>
            <a:r>
              <a:rPr lang="ru-RU" sz="800" b="1" baseline="0" dirty="0" err="1" smtClean="0">
                <a:solidFill>
                  <a:schemeClr val="bg1"/>
                </a:solidFill>
              </a:rPr>
              <a:t>пт</a:t>
            </a:r>
            <a:endParaRPr lang="ru-RU" sz="800" b="1" baseline="0" dirty="0" smtClean="0">
              <a:solidFill>
                <a:schemeClr val="bg1"/>
              </a:solidFill>
            </a:endParaRPr>
          </a:p>
          <a:p>
            <a:pPr marL="266700" lvl="4" indent="-8890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ru-RU" sz="800" b="1" baseline="0" dirty="0" smtClean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 smtClean="0">
              <a:solidFill>
                <a:schemeClr val="bg1"/>
              </a:solidFill>
            </a:endParaRPr>
          </a:p>
          <a:p>
            <a:pPr marL="182563" indent="-182563" algn="l" defTabSz="779163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700" lvl="1" indent="-79375" algn="l" defTabSz="779163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700" lvl="1" indent="-79375" algn="l" defTabSz="779163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700" lvl="1" indent="-79375" algn="l" defTabSz="779163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3" marR="0" lvl="0" indent="-182563" algn="l" defTabSz="77916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700" marR="0" lvl="1" indent="-84138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 smtClean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 smtClean="0">
                <a:solidFill>
                  <a:schemeClr val="bg1"/>
                </a:solidFill>
              </a:rPr>
              <a:t>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ru-RU" sz="800" baseline="0" dirty="0" smtClean="0">
                <a:solidFill>
                  <a:schemeClr val="bg1"/>
                </a:solidFill>
              </a:rPr>
              <a:t>иконок </a:t>
            </a:r>
            <a:r>
              <a:rPr lang="ru-RU" sz="800" dirty="0" smtClean="0">
                <a:solidFill>
                  <a:schemeClr val="bg1"/>
                </a:solidFill>
              </a:rPr>
              <a:t>в</a:t>
            </a:r>
            <a:r>
              <a:rPr lang="ru-RU" sz="800" baseline="0" dirty="0" smtClean="0">
                <a:solidFill>
                  <a:schemeClr val="bg1"/>
                </a:solidFill>
              </a:rPr>
              <a:t> едином стиле</a:t>
            </a:r>
            <a:endParaRPr lang="ru-RU" sz="800" b="1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3" marR="0" lvl="0" indent="-182563" algn="l" defTabSz="77916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 smtClean="0">
                <a:solidFill>
                  <a:schemeClr val="bg1"/>
                </a:solidFill>
              </a:rPr>
              <a:t>ИЗОБРАЖЕНИЯ</a:t>
            </a:r>
          </a:p>
          <a:p>
            <a:pPr marL="266700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/>
                </a:solidFill>
              </a:rPr>
              <a:t>Нельзя</a:t>
            </a:r>
            <a:r>
              <a:rPr lang="ru-RU" sz="800" baseline="0" dirty="0" smtClean="0">
                <a:solidFill>
                  <a:schemeClr val="bg1"/>
                </a:solidFill>
              </a:rPr>
              <a:t> искажать пропорции</a:t>
            </a:r>
          </a:p>
          <a:p>
            <a:pPr marL="266700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 smtClean="0">
                <a:solidFill>
                  <a:schemeClr val="bg1"/>
                </a:solidFill>
              </a:rPr>
              <a:t> –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ru-RU" sz="800" baseline="0" dirty="0" smtClean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 smtClean="0">
              <a:solidFill>
                <a:schemeClr val="bg1"/>
              </a:solidFill>
            </a:endParaRPr>
          </a:p>
          <a:p>
            <a:pPr marL="182563" marR="0" lvl="0" indent="-182563" algn="l" defTabSz="77916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700" marR="0" lvl="1" indent="-92075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700" marR="0" lvl="1" indent="-92075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700" marR="0" lvl="1" indent="-92075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5" marR="0" lvl="1" indent="-182563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9249089" y="68323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9249089" y="505283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9249089" y="3367556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 userDrawn="1"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 userDrawn="1"/>
        </p:nvSpPr>
        <p:spPr>
          <a:xfrm>
            <a:off x="9249089" y="2056666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 userDrawn="1"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 userDrawn="1"/>
        </p:nvSpPr>
        <p:spPr>
          <a:xfrm>
            <a:off x="9249089" y="2930586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 userDrawn="1"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 userDrawn="1"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 userDrawn="1"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9249091" y="505283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 userDrawn="1"/>
        </p:nvSpPr>
        <p:spPr>
          <a:xfrm>
            <a:off x="9249091" y="3367559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 userDrawn="1"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 userDrawn="1"/>
        </p:nvSpPr>
        <p:spPr>
          <a:xfrm>
            <a:off x="9249091" y="2056666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 userDrawn="1"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 userDrawn="1"/>
        </p:nvSpPr>
        <p:spPr>
          <a:xfrm>
            <a:off x="9249091" y="2930586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 userDrawn="1"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 userDrawn="1"/>
        </p:nvCxnSpPr>
        <p:spPr bwMode="auto">
          <a:xfrm>
            <a:off x="9746097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106" y="192995"/>
            <a:ext cx="2043619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56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474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4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3043363-C14F-479C-A9BB-51A9F07CD6AF}" type="datetime1">
              <a:rPr lang="ru-RU" smtClean="0"/>
              <a:t>31.03.2022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750710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1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4502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747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6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5976A4A-21CA-48F0-9456-D9863BF8FDFE}" type="datetime1">
              <a:rPr lang="ru-RU" smtClean="0"/>
              <a:t>31.03.2022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866192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96600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44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8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C2CE6476-0953-4462-AD22-8D7AC8FDF9E5}" type="datetime1">
              <a:rPr lang="ru-RU" smtClean="0"/>
              <a:t>31.03.2022</a:t>
            </a:fld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 userDrawn="1"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 userDrawn="1"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50402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58559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FFF1EDEE-2584-453A-BFB1-A42366CBA0B3}" type="datetime1">
              <a:rPr lang="ru-RU" smtClean="0"/>
              <a:t>31.03.2022</a:t>
            </a:fld>
            <a:endParaRPr lang="ru-RU"/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2587256" y="3763725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306624" y="85960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13"/>
          <p:cNvSpPr>
            <a:spLocks noGrp="1"/>
          </p:cNvSpPr>
          <p:nvPr>
            <p:ph type="pic" sz="quarter" idx="14" hasCustomPrompt="1"/>
          </p:nvPr>
        </p:nvSpPr>
        <p:spPr>
          <a:xfrm>
            <a:off x="1306624" y="2179671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306624" y="351137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5" y="954920"/>
            <a:ext cx="4641951" cy="157334"/>
          </a:xfrm>
          <a:prstGeom prst="rect">
            <a:avLst/>
          </a:prstGeo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5" y="1143515"/>
            <a:ext cx="4641951" cy="840396"/>
          </a:xfrm>
          <a:prstGeom prst="rect">
            <a:avLst/>
          </a:prstGeo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6" y="2238907"/>
            <a:ext cx="4641950" cy="157334"/>
          </a:xfrm>
          <a:prstGeom prst="rect">
            <a:avLst/>
          </a:prstGeo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6" y="2427502"/>
            <a:ext cx="4641950" cy="840396"/>
          </a:xfrm>
          <a:prstGeom prst="rect">
            <a:avLst/>
          </a:prstGeo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5" name="Текст 17"/>
          <p:cNvSpPr>
            <a:spLocks noGrp="1"/>
          </p:cNvSpPr>
          <p:nvPr>
            <p:ph type="body" sz="quarter" idx="20" hasCustomPrompt="1"/>
          </p:nvPr>
        </p:nvSpPr>
        <p:spPr>
          <a:xfrm>
            <a:off x="2607386" y="3612166"/>
            <a:ext cx="4641950" cy="157334"/>
          </a:xfrm>
          <a:prstGeom prst="rect">
            <a:avLst/>
          </a:prstGeo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6" name="Текст 17"/>
          <p:cNvSpPr>
            <a:spLocks noGrp="1"/>
          </p:cNvSpPr>
          <p:nvPr>
            <p:ph type="body" sz="quarter" idx="21" hasCustomPrompt="1"/>
          </p:nvPr>
        </p:nvSpPr>
        <p:spPr>
          <a:xfrm>
            <a:off x="2607386" y="3800761"/>
            <a:ext cx="4641950" cy="840396"/>
          </a:xfrm>
          <a:prstGeom prst="rect">
            <a:avLst/>
          </a:prstGeo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 bwMode="auto">
          <a:xfrm>
            <a:off x="2587256" y="2403103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30169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25F3D4CF-18EB-4ACE-BE56-C86930A3BFE7}" type="datetime1">
              <a:rPr lang="ru-RU" smtClean="0"/>
              <a:t>31.03.2022</a:t>
            </a:fld>
            <a:endParaRPr lang="ru-RU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 bwMode="auto">
          <a:xfrm>
            <a:off x="704485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916005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0" name="Рисунок 13"/>
          <p:cNvSpPr>
            <a:spLocks noGrp="1"/>
          </p:cNvSpPr>
          <p:nvPr>
            <p:ph type="pic" sz="quarter" idx="14" hasCustomPrompt="1"/>
          </p:nvPr>
        </p:nvSpPr>
        <p:spPr>
          <a:xfrm>
            <a:off x="3566224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1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6248766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714549" y="3219354"/>
            <a:ext cx="2310912" cy="191230"/>
          </a:xfrm>
          <a:prstGeom prst="rect">
            <a:avLst/>
          </a:prstGeo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Иванов Иван Иванович</a:t>
            </a:r>
            <a:endParaRPr lang="ru-RU" dirty="0"/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714549" y="3407948"/>
            <a:ext cx="2310912" cy="1021446"/>
          </a:xfrm>
          <a:prstGeom prst="rect">
            <a:avLst/>
          </a:prstGeo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 bwMode="auto">
          <a:xfrm>
            <a:off x="3354704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3364768" y="3219354"/>
            <a:ext cx="2310912" cy="191230"/>
          </a:xfrm>
          <a:prstGeom prst="rect">
            <a:avLst/>
          </a:prstGeo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Иванов Иван Иванович</a:t>
            </a:r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64768" y="3407948"/>
            <a:ext cx="2310912" cy="1021446"/>
          </a:xfrm>
          <a:prstGeom prst="rect">
            <a:avLst/>
          </a:prstGeo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 bwMode="auto">
          <a:xfrm>
            <a:off x="6037246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Текст 17"/>
          <p:cNvSpPr>
            <a:spLocks noGrp="1"/>
          </p:cNvSpPr>
          <p:nvPr>
            <p:ph type="body" sz="quarter" idx="20" hasCustomPrompt="1"/>
          </p:nvPr>
        </p:nvSpPr>
        <p:spPr>
          <a:xfrm>
            <a:off x="6047310" y="3219354"/>
            <a:ext cx="2310912" cy="191230"/>
          </a:xfrm>
          <a:prstGeom prst="rect">
            <a:avLst/>
          </a:prstGeo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Иванов Иван Иванович</a:t>
            </a:r>
            <a:endParaRPr lang="ru-RU" dirty="0"/>
          </a:p>
        </p:txBody>
      </p:sp>
      <p:sp>
        <p:nvSpPr>
          <p:cNvPr id="29" name="Текст 17"/>
          <p:cNvSpPr>
            <a:spLocks noGrp="1"/>
          </p:cNvSpPr>
          <p:nvPr>
            <p:ph type="body" sz="quarter" idx="21" hasCustomPrompt="1"/>
          </p:nvPr>
        </p:nvSpPr>
        <p:spPr>
          <a:xfrm>
            <a:off x="6047310" y="3407948"/>
            <a:ext cx="2310912" cy="1021446"/>
          </a:xfrm>
          <a:prstGeom prst="rect">
            <a:avLst/>
          </a:prstGeo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Должност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74306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бирюзов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0908018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 bwMode="auto">
          <a:xfrm flipV="1"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4" y="4881994"/>
            <a:ext cx="876289" cy="165600"/>
          </a:xfrm>
          <a:prstGeom prst="rect">
            <a:avLst/>
          </a:prstGeom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41" name="Прямая соединительная линия 40"/>
          <p:cNvCxnSpPr/>
          <p:nvPr userDrawn="1"/>
        </p:nvCxnSpPr>
        <p:spPr bwMode="auto">
          <a:xfrm>
            <a:off x="6134100" y="4785030"/>
            <a:ext cx="30099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1D054810-A3DC-4EFD-B3E3-B1C756968FC9}" type="datetime1">
              <a:rPr lang="ru-RU" smtClean="0"/>
              <a:t>31.03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5" name="Прямоугольник 44"/>
          <p:cNvSpPr/>
          <p:nvPr userDrawn="1"/>
        </p:nvSpPr>
        <p:spPr>
          <a:xfrm>
            <a:off x="9249089" y="0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7" name="Прямоугольник 46"/>
          <p:cNvSpPr/>
          <p:nvPr userDrawn="1"/>
        </p:nvSpPr>
        <p:spPr>
          <a:xfrm>
            <a:off x="9249089" y="436960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9249089" y="3299233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9249089" y="1988343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9249089" y="2425307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9249091" y="436960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9249091" y="3299236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9249091" y="1988343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0" name="Прямоугольник 59"/>
          <p:cNvSpPr/>
          <p:nvPr userDrawn="1"/>
        </p:nvSpPr>
        <p:spPr>
          <a:xfrm>
            <a:off x="9249091" y="2425307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436504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EBD2FF5F-D560-4B47-AF48-F6C684CD1F6A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4405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2034E8C0-5E89-461A-8B09-B4E4108D6D96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1594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C4E310B3-1C53-4BB8-B22F-8A5EFE8B4AD5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2075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65" indent="-162325">
              <a:defRPr sz="1400"/>
            </a:lvl2pPr>
            <a:lvl3pPr marL="764284" indent="-173147">
              <a:defRPr sz="1300"/>
            </a:lvl3pPr>
            <a:lvl4pPr marL="992892" indent="-150152">
              <a:tabLst>
                <a:tab pos="992892" algn="l"/>
              </a:tabLst>
              <a:defRPr sz="1000" b="0"/>
            </a:lvl4pPr>
            <a:lvl5pPr marL="1220148" indent="-127156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B361C2AC-152F-49DE-862A-8FBD0F51B1F4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16988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257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262438" cy="5143500"/>
          </a:xfrm>
          <a:prstGeom prst="rect">
            <a:avLst/>
          </a:prstGeom>
        </p:spPr>
      </p:pic>
      <p:sp>
        <p:nvSpPr>
          <p:cNvPr id="12" name="object 3"/>
          <p:cNvSpPr/>
          <p:nvPr userDrawn="1"/>
        </p:nvSpPr>
        <p:spPr>
          <a:xfrm>
            <a:off x="3566726" y="361"/>
            <a:ext cx="5577274" cy="5143861"/>
          </a:xfrm>
          <a:custGeom>
            <a:avLst/>
            <a:gdLst/>
            <a:ahLst/>
            <a:cxnLst/>
            <a:rect l="l" t="t" r="r" b="b"/>
            <a:pathLst>
              <a:path w="12330430" h="11308715">
                <a:moveTo>
                  <a:pt x="12330023" y="0"/>
                </a:moveTo>
                <a:lnTo>
                  <a:pt x="518594" y="0"/>
                </a:lnTo>
                <a:lnTo>
                  <a:pt x="510507" y="43580"/>
                </a:lnTo>
                <a:lnTo>
                  <a:pt x="499098" y="105786"/>
                </a:lnTo>
                <a:lnTo>
                  <a:pt x="487818" y="168021"/>
                </a:lnTo>
                <a:lnTo>
                  <a:pt x="476666" y="230283"/>
                </a:lnTo>
                <a:lnTo>
                  <a:pt x="465644" y="292573"/>
                </a:lnTo>
                <a:lnTo>
                  <a:pt x="454751" y="354890"/>
                </a:lnTo>
                <a:lnTo>
                  <a:pt x="443986" y="417235"/>
                </a:lnTo>
                <a:lnTo>
                  <a:pt x="433351" y="479606"/>
                </a:lnTo>
                <a:lnTo>
                  <a:pt x="422844" y="542003"/>
                </a:lnTo>
                <a:lnTo>
                  <a:pt x="412466" y="604427"/>
                </a:lnTo>
                <a:lnTo>
                  <a:pt x="402217" y="666876"/>
                </a:lnTo>
                <a:lnTo>
                  <a:pt x="392097" y="729351"/>
                </a:lnTo>
                <a:lnTo>
                  <a:pt x="382106" y="791851"/>
                </a:lnTo>
                <a:lnTo>
                  <a:pt x="372244" y="854375"/>
                </a:lnTo>
                <a:lnTo>
                  <a:pt x="362511" y="916925"/>
                </a:lnTo>
                <a:lnTo>
                  <a:pt x="352907" y="979498"/>
                </a:lnTo>
                <a:lnTo>
                  <a:pt x="343432" y="1042095"/>
                </a:lnTo>
                <a:lnTo>
                  <a:pt x="334085" y="1104715"/>
                </a:lnTo>
                <a:lnTo>
                  <a:pt x="324868" y="1167359"/>
                </a:lnTo>
                <a:lnTo>
                  <a:pt x="315779" y="1230026"/>
                </a:lnTo>
                <a:lnTo>
                  <a:pt x="306820" y="1292715"/>
                </a:lnTo>
                <a:lnTo>
                  <a:pt x="297989" y="1355426"/>
                </a:lnTo>
                <a:lnTo>
                  <a:pt x="289287" y="1418159"/>
                </a:lnTo>
                <a:lnTo>
                  <a:pt x="280714" y="1480914"/>
                </a:lnTo>
                <a:lnTo>
                  <a:pt x="272270" y="1543690"/>
                </a:lnTo>
                <a:lnTo>
                  <a:pt x="263955" y="1606487"/>
                </a:lnTo>
                <a:lnTo>
                  <a:pt x="255769" y="1669305"/>
                </a:lnTo>
                <a:lnTo>
                  <a:pt x="247712" y="1732142"/>
                </a:lnTo>
                <a:lnTo>
                  <a:pt x="239783" y="1795000"/>
                </a:lnTo>
                <a:lnTo>
                  <a:pt x="231984" y="1857878"/>
                </a:lnTo>
                <a:lnTo>
                  <a:pt x="224313" y="1920774"/>
                </a:lnTo>
                <a:lnTo>
                  <a:pt x="216772" y="1983690"/>
                </a:lnTo>
                <a:lnTo>
                  <a:pt x="209359" y="2046624"/>
                </a:lnTo>
                <a:lnTo>
                  <a:pt x="202075" y="2109577"/>
                </a:lnTo>
                <a:lnTo>
                  <a:pt x="194920" y="2172548"/>
                </a:lnTo>
                <a:lnTo>
                  <a:pt x="187895" y="2235536"/>
                </a:lnTo>
                <a:lnTo>
                  <a:pt x="180998" y="2298542"/>
                </a:lnTo>
                <a:lnTo>
                  <a:pt x="174229" y="2361565"/>
                </a:lnTo>
                <a:lnTo>
                  <a:pt x="167590" y="2424605"/>
                </a:lnTo>
                <a:lnTo>
                  <a:pt x="161080" y="2487661"/>
                </a:lnTo>
                <a:lnTo>
                  <a:pt x="154699" y="2550733"/>
                </a:lnTo>
                <a:lnTo>
                  <a:pt x="148446" y="2613821"/>
                </a:lnTo>
                <a:lnTo>
                  <a:pt x="142323" y="2676924"/>
                </a:lnTo>
                <a:lnTo>
                  <a:pt x="136328" y="2740042"/>
                </a:lnTo>
                <a:lnTo>
                  <a:pt x="130462" y="2803176"/>
                </a:lnTo>
                <a:lnTo>
                  <a:pt x="124726" y="2866323"/>
                </a:lnTo>
                <a:lnTo>
                  <a:pt x="119118" y="2929485"/>
                </a:lnTo>
                <a:lnTo>
                  <a:pt x="113639" y="2992661"/>
                </a:lnTo>
                <a:lnTo>
                  <a:pt x="108289" y="3055850"/>
                </a:lnTo>
                <a:lnTo>
                  <a:pt x="103068" y="3119053"/>
                </a:lnTo>
                <a:lnTo>
                  <a:pt x="97976" y="3182268"/>
                </a:lnTo>
                <a:lnTo>
                  <a:pt x="93012" y="3245496"/>
                </a:lnTo>
                <a:lnTo>
                  <a:pt x="88178" y="3308736"/>
                </a:lnTo>
                <a:lnTo>
                  <a:pt x="83473" y="3371988"/>
                </a:lnTo>
                <a:lnTo>
                  <a:pt x="78896" y="3435252"/>
                </a:lnTo>
                <a:lnTo>
                  <a:pt x="74448" y="3498527"/>
                </a:lnTo>
                <a:lnTo>
                  <a:pt x="70130" y="3561813"/>
                </a:lnTo>
                <a:lnTo>
                  <a:pt x="65940" y="3625109"/>
                </a:lnTo>
                <a:lnTo>
                  <a:pt x="61879" y="3688416"/>
                </a:lnTo>
                <a:lnTo>
                  <a:pt x="57947" y="3751733"/>
                </a:lnTo>
                <a:lnTo>
                  <a:pt x="54144" y="3815059"/>
                </a:lnTo>
                <a:lnTo>
                  <a:pt x="50470" y="3878395"/>
                </a:lnTo>
                <a:lnTo>
                  <a:pt x="46925" y="3941739"/>
                </a:lnTo>
                <a:lnTo>
                  <a:pt x="43509" y="4005093"/>
                </a:lnTo>
                <a:lnTo>
                  <a:pt x="40221" y="4068455"/>
                </a:lnTo>
                <a:lnTo>
                  <a:pt x="37063" y="4131824"/>
                </a:lnTo>
                <a:lnTo>
                  <a:pt x="34033" y="4195202"/>
                </a:lnTo>
                <a:lnTo>
                  <a:pt x="31133" y="4258587"/>
                </a:lnTo>
                <a:lnTo>
                  <a:pt x="28361" y="4321979"/>
                </a:lnTo>
                <a:lnTo>
                  <a:pt x="25718" y="4385378"/>
                </a:lnTo>
                <a:lnTo>
                  <a:pt x="23204" y="4448783"/>
                </a:lnTo>
                <a:lnTo>
                  <a:pt x="20819" y="4512194"/>
                </a:lnTo>
                <a:lnTo>
                  <a:pt x="18563" y="4575612"/>
                </a:lnTo>
                <a:lnTo>
                  <a:pt x="16436" y="4639034"/>
                </a:lnTo>
                <a:lnTo>
                  <a:pt x="14438" y="4702462"/>
                </a:lnTo>
                <a:lnTo>
                  <a:pt x="12569" y="4765895"/>
                </a:lnTo>
                <a:lnTo>
                  <a:pt x="10828" y="4829332"/>
                </a:lnTo>
                <a:lnTo>
                  <a:pt x="9217" y="4892773"/>
                </a:lnTo>
                <a:lnTo>
                  <a:pt x="7734" y="4956218"/>
                </a:lnTo>
                <a:lnTo>
                  <a:pt x="6381" y="5019667"/>
                </a:lnTo>
                <a:lnTo>
                  <a:pt x="5156" y="5083119"/>
                </a:lnTo>
                <a:lnTo>
                  <a:pt x="4060" y="5146573"/>
                </a:lnTo>
                <a:lnTo>
                  <a:pt x="3093" y="5210031"/>
                </a:lnTo>
                <a:lnTo>
                  <a:pt x="2256" y="5273490"/>
                </a:lnTo>
                <a:lnTo>
                  <a:pt x="1546" y="5336952"/>
                </a:lnTo>
                <a:lnTo>
                  <a:pt x="966" y="5400415"/>
                </a:lnTo>
                <a:lnTo>
                  <a:pt x="515" y="5463880"/>
                </a:lnTo>
                <a:lnTo>
                  <a:pt x="193" y="5527345"/>
                </a:lnTo>
                <a:lnTo>
                  <a:pt x="0" y="5590811"/>
                </a:lnTo>
                <a:lnTo>
                  <a:pt x="0" y="5717744"/>
                </a:lnTo>
                <a:lnTo>
                  <a:pt x="193" y="5781210"/>
                </a:lnTo>
                <a:lnTo>
                  <a:pt x="515" y="5844675"/>
                </a:lnTo>
                <a:lnTo>
                  <a:pt x="966" y="5908140"/>
                </a:lnTo>
                <a:lnTo>
                  <a:pt x="1546" y="5971603"/>
                </a:lnTo>
                <a:lnTo>
                  <a:pt x="2256" y="6035065"/>
                </a:lnTo>
                <a:lnTo>
                  <a:pt x="3093" y="6098524"/>
                </a:lnTo>
                <a:lnTo>
                  <a:pt x="4060" y="6161982"/>
                </a:lnTo>
                <a:lnTo>
                  <a:pt x="5156" y="6225436"/>
                </a:lnTo>
                <a:lnTo>
                  <a:pt x="6381" y="6288888"/>
                </a:lnTo>
                <a:lnTo>
                  <a:pt x="7734" y="6352337"/>
                </a:lnTo>
                <a:lnTo>
                  <a:pt x="9217" y="6415782"/>
                </a:lnTo>
                <a:lnTo>
                  <a:pt x="10828" y="6479224"/>
                </a:lnTo>
                <a:lnTo>
                  <a:pt x="12569" y="6542661"/>
                </a:lnTo>
                <a:lnTo>
                  <a:pt x="14438" y="6606093"/>
                </a:lnTo>
                <a:lnTo>
                  <a:pt x="16436" y="6669521"/>
                </a:lnTo>
                <a:lnTo>
                  <a:pt x="18563" y="6732944"/>
                </a:lnTo>
                <a:lnTo>
                  <a:pt x="20819" y="6796361"/>
                </a:lnTo>
                <a:lnTo>
                  <a:pt x="23204" y="6859772"/>
                </a:lnTo>
                <a:lnTo>
                  <a:pt x="25718" y="6923177"/>
                </a:lnTo>
                <a:lnTo>
                  <a:pt x="28361" y="6986576"/>
                </a:lnTo>
                <a:lnTo>
                  <a:pt x="31133" y="7049968"/>
                </a:lnTo>
                <a:lnTo>
                  <a:pt x="34033" y="7113353"/>
                </a:lnTo>
                <a:lnTo>
                  <a:pt x="37063" y="7176731"/>
                </a:lnTo>
                <a:lnTo>
                  <a:pt x="40221" y="7240101"/>
                </a:lnTo>
                <a:lnTo>
                  <a:pt x="43509" y="7303462"/>
                </a:lnTo>
                <a:lnTo>
                  <a:pt x="46925" y="7366816"/>
                </a:lnTo>
                <a:lnTo>
                  <a:pt x="50470" y="7430160"/>
                </a:lnTo>
                <a:lnTo>
                  <a:pt x="54144" y="7493496"/>
                </a:lnTo>
                <a:lnTo>
                  <a:pt x="57947" y="7556823"/>
                </a:lnTo>
                <a:lnTo>
                  <a:pt x="61879" y="7620139"/>
                </a:lnTo>
                <a:lnTo>
                  <a:pt x="65940" y="7683446"/>
                </a:lnTo>
                <a:lnTo>
                  <a:pt x="70130" y="7746743"/>
                </a:lnTo>
                <a:lnTo>
                  <a:pt x="74448" y="7810028"/>
                </a:lnTo>
                <a:lnTo>
                  <a:pt x="78896" y="7873303"/>
                </a:lnTo>
                <a:lnTo>
                  <a:pt x="83473" y="7936567"/>
                </a:lnTo>
                <a:lnTo>
                  <a:pt x="88178" y="7999819"/>
                </a:lnTo>
                <a:lnTo>
                  <a:pt x="93012" y="8063059"/>
                </a:lnTo>
                <a:lnTo>
                  <a:pt x="97976" y="8126287"/>
                </a:lnTo>
                <a:lnTo>
                  <a:pt x="103068" y="8189502"/>
                </a:lnTo>
                <a:lnTo>
                  <a:pt x="108289" y="8252705"/>
                </a:lnTo>
                <a:lnTo>
                  <a:pt x="113639" y="8315894"/>
                </a:lnTo>
                <a:lnTo>
                  <a:pt x="119118" y="8379070"/>
                </a:lnTo>
                <a:lnTo>
                  <a:pt x="124726" y="8442232"/>
                </a:lnTo>
                <a:lnTo>
                  <a:pt x="130462" y="8505379"/>
                </a:lnTo>
                <a:lnTo>
                  <a:pt x="136328" y="8568513"/>
                </a:lnTo>
                <a:lnTo>
                  <a:pt x="142323" y="8631631"/>
                </a:lnTo>
                <a:lnTo>
                  <a:pt x="148446" y="8694735"/>
                </a:lnTo>
                <a:lnTo>
                  <a:pt x="154699" y="8757822"/>
                </a:lnTo>
                <a:lnTo>
                  <a:pt x="161080" y="8820895"/>
                </a:lnTo>
                <a:lnTo>
                  <a:pt x="167590" y="8883951"/>
                </a:lnTo>
                <a:lnTo>
                  <a:pt x="174229" y="8946990"/>
                </a:lnTo>
                <a:lnTo>
                  <a:pt x="180998" y="9010013"/>
                </a:lnTo>
                <a:lnTo>
                  <a:pt x="187895" y="9073019"/>
                </a:lnTo>
                <a:lnTo>
                  <a:pt x="194920" y="9136007"/>
                </a:lnTo>
                <a:lnTo>
                  <a:pt x="202075" y="9198978"/>
                </a:lnTo>
                <a:lnTo>
                  <a:pt x="209359" y="9261931"/>
                </a:lnTo>
                <a:lnTo>
                  <a:pt x="216772" y="9324865"/>
                </a:lnTo>
                <a:lnTo>
                  <a:pt x="224313" y="9387781"/>
                </a:lnTo>
                <a:lnTo>
                  <a:pt x="231984" y="9450678"/>
                </a:lnTo>
                <a:lnTo>
                  <a:pt x="239783" y="9513555"/>
                </a:lnTo>
                <a:lnTo>
                  <a:pt x="247712" y="9576413"/>
                </a:lnTo>
                <a:lnTo>
                  <a:pt x="255769" y="9639250"/>
                </a:lnTo>
                <a:lnTo>
                  <a:pt x="263955" y="9702068"/>
                </a:lnTo>
                <a:lnTo>
                  <a:pt x="272270" y="9764865"/>
                </a:lnTo>
                <a:lnTo>
                  <a:pt x="280714" y="9827641"/>
                </a:lnTo>
                <a:lnTo>
                  <a:pt x="289287" y="9890396"/>
                </a:lnTo>
                <a:lnTo>
                  <a:pt x="297989" y="9953129"/>
                </a:lnTo>
                <a:lnTo>
                  <a:pt x="306820" y="10015840"/>
                </a:lnTo>
                <a:lnTo>
                  <a:pt x="315779" y="10078529"/>
                </a:lnTo>
                <a:lnTo>
                  <a:pt x="324868" y="10141196"/>
                </a:lnTo>
                <a:lnTo>
                  <a:pt x="334085" y="10203840"/>
                </a:lnTo>
                <a:lnTo>
                  <a:pt x="343432" y="10266460"/>
                </a:lnTo>
                <a:lnTo>
                  <a:pt x="352907" y="10329057"/>
                </a:lnTo>
                <a:lnTo>
                  <a:pt x="362511" y="10391631"/>
                </a:lnTo>
                <a:lnTo>
                  <a:pt x="372244" y="10454180"/>
                </a:lnTo>
                <a:lnTo>
                  <a:pt x="382106" y="10516704"/>
                </a:lnTo>
                <a:lnTo>
                  <a:pt x="392097" y="10579204"/>
                </a:lnTo>
                <a:lnTo>
                  <a:pt x="402217" y="10641679"/>
                </a:lnTo>
                <a:lnTo>
                  <a:pt x="412466" y="10704128"/>
                </a:lnTo>
                <a:lnTo>
                  <a:pt x="422844" y="10766552"/>
                </a:lnTo>
                <a:lnTo>
                  <a:pt x="433351" y="10828949"/>
                </a:lnTo>
                <a:lnTo>
                  <a:pt x="443986" y="10891320"/>
                </a:lnTo>
                <a:lnTo>
                  <a:pt x="454751" y="10953665"/>
                </a:lnTo>
                <a:lnTo>
                  <a:pt x="465644" y="11015982"/>
                </a:lnTo>
                <a:lnTo>
                  <a:pt x="476666" y="11078272"/>
                </a:lnTo>
                <a:lnTo>
                  <a:pt x="487818" y="11140535"/>
                </a:lnTo>
                <a:lnTo>
                  <a:pt x="499098" y="11202769"/>
                </a:lnTo>
                <a:lnTo>
                  <a:pt x="510507" y="11264975"/>
                </a:lnTo>
                <a:lnTo>
                  <a:pt x="518594" y="11308556"/>
                </a:lnTo>
                <a:lnTo>
                  <a:pt x="12330023" y="11308556"/>
                </a:lnTo>
                <a:lnTo>
                  <a:pt x="123300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50"/>
          </a:p>
        </p:txBody>
      </p:sp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3978480" y="1400493"/>
            <a:ext cx="4920382" cy="1441767"/>
          </a:xfrm>
          <a:effectLst/>
        </p:spPr>
        <p:txBody>
          <a:bodyPr>
            <a:normAutofit/>
          </a:bodyPr>
          <a:lstStyle>
            <a:lvl1pPr>
              <a:defRPr lang="ru-RU" sz="4000" b="0" i="0" u="none" cap="none" spc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978481" y="2842260"/>
            <a:ext cx="4920382" cy="411480"/>
          </a:xfrm>
          <a:effectLst/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978275" y="3474719"/>
            <a:ext cx="2653200" cy="766800"/>
          </a:xfrm>
          <a:effectLst/>
        </p:spPr>
        <p:txBody>
          <a:bodyPr/>
          <a:lstStyle>
            <a:lvl1pPr>
              <a:spcBef>
                <a:spcPts val="0"/>
              </a:spcBef>
              <a:defRPr sz="1400" baseline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Иванов </a:t>
            </a:r>
            <a:r>
              <a:rPr lang="ru-RU" dirty="0"/>
              <a:t>Иван Иванович</a:t>
            </a:r>
            <a:br>
              <a:rPr lang="ru-RU" dirty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Подразделение</a:t>
            </a:r>
          </a:p>
          <a:p>
            <a:pPr lvl="0"/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769583" y="3474720"/>
            <a:ext cx="2129280" cy="767672"/>
          </a:xfrm>
          <a:effectLst/>
        </p:spPr>
        <p:txBody>
          <a:bodyPr/>
          <a:lstStyle>
            <a:lvl1pPr>
              <a:spcBef>
                <a:spcPts val="0"/>
              </a:spcBef>
              <a:defRPr sz="1100" baseline="0">
                <a:solidFill>
                  <a:schemeClr val="tx1">
                    <a:lumMod val="50000"/>
                    <a:lumOff val="50000"/>
                  </a:schemeClr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Дата</a:t>
            </a:r>
            <a:endParaRPr lang="en-US" dirty="0" smtClean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9174364" y="1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 smtClean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 smtClean="0">
                <a:solidFill>
                  <a:schemeClr val="bg1"/>
                </a:solidFill>
              </a:rPr>
            </a:br>
            <a:r>
              <a:rPr lang="ru-RU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63" rtl="0" eaLnBrk="1" latinLnBrk="0" hangingPunct="1"/>
            <a:endParaRPr lang="ru-RU" sz="800" b="1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3" indent="-182563" algn="l" defTabSz="779163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 smtClean="0">
                <a:solidFill>
                  <a:schemeClr val="bg1"/>
                </a:solidFill>
              </a:rPr>
              <a:t>Корп.шрифт</a:t>
            </a:r>
            <a:r>
              <a:rPr lang="ru-RU" sz="800" b="0" dirty="0" smtClean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 smtClean="0">
                <a:solidFill>
                  <a:schemeClr val="bg1"/>
                </a:solidFill>
              </a:rPr>
              <a:t> </a:t>
            </a:r>
            <a:r>
              <a:rPr lang="ru-RU" sz="800" baseline="0" dirty="0" smtClean="0">
                <a:solidFill>
                  <a:schemeClr val="bg1"/>
                </a:solidFill>
              </a:rPr>
              <a:t>–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en-US" sz="800" b="1" dirty="0" smtClean="0">
                <a:solidFill>
                  <a:schemeClr val="bg1"/>
                </a:solidFill>
              </a:rPr>
              <a:t>Arial</a:t>
            </a:r>
            <a:r>
              <a:rPr lang="ru-RU" sz="800" dirty="0" smtClean="0">
                <a:solidFill>
                  <a:schemeClr val="bg1"/>
                </a:solidFill>
              </a:rPr>
              <a:t> (</a:t>
            </a:r>
            <a:r>
              <a:rPr lang="ru-RU" sz="800" i="1" dirty="0" smtClean="0">
                <a:solidFill>
                  <a:schemeClr val="bg1"/>
                </a:solidFill>
              </a:rPr>
              <a:t>д</a:t>
            </a:r>
            <a:r>
              <a:rPr lang="ru-RU" sz="800" i="1" baseline="0" dirty="0" smtClean="0">
                <a:solidFill>
                  <a:schemeClr val="bg1"/>
                </a:solidFill>
              </a:rPr>
              <a:t>опустимо:</a:t>
            </a:r>
            <a:r>
              <a:rPr lang="ru-RU" sz="800" baseline="0" dirty="0" smtClean="0">
                <a:solidFill>
                  <a:schemeClr val="bg1"/>
                </a:solidFill>
              </a:rPr>
              <a:t> </a:t>
            </a:r>
            <a:r>
              <a:rPr lang="en-US" sz="800" baseline="0" dirty="0" smtClean="0">
                <a:solidFill>
                  <a:schemeClr val="bg1"/>
                </a:solidFill>
              </a:rPr>
              <a:t>Arial Narrow</a:t>
            </a:r>
            <a:r>
              <a:rPr lang="ru-RU" sz="800" baseline="0" dirty="0" smtClean="0">
                <a:solidFill>
                  <a:schemeClr val="bg1"/>
                </a:solidFill>
              </a:rPr>
              <a:t>)</a:t>
            </a: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 smtClean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 smtClean="0">
                <a:solidFill>
                  <a:schemeClr val="bg1"/>
                </a:solidFill>
              </a:rPr>
              <a:t>пт</a:t>
            </a:r>
            <a:endParaRPr lang="ru-RU" sz="800" b="1" baseline="0" dirty="0" smtClean="0">
              <a:solidFill>
                <a:schemeClr val="bg1"/>
              </a:solidFill>
            </a:endParaRP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 smtClean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 smtClean="0">
                <a:solidFill>
                  <a:schemeClr val="bg1"/>
                </a:solidFill>
              </a:rPr>
              <a:t>1</a:t>
            </a:r>
            <a:r>
              <a:rPr lang="ru-RU" sz="800" b="1" baseline="0" dirty="0" smtClean="0">
                <a:solidFill>
                  <a:schemeClr val="bg1"/>
                </a:solidFill>
              </a:rPr>
              <a:t>2 </a:t>
            </a:r>
            <a:r>
              <a:rPr lang="ru-RU" sz="800" b="1" baseline="0" dirty="0" err="1" smtClean="0">
                <a:solidFill>
                  <a:schemeClr val="bg1"/>
                </a:solidFill>
              </a:rPr>
              <a:t>пт</a:t>
            </a:r>
            <a:endParaRPr lang="ru-RU" sz="800" b="1" baseline="0" dirty="0" smtClean="0">
              <a:solidFill>
                <a:schemeClr val="bg1"/>
              </a:solidFill>
            </a:endParaRPr>
          </a:p>
          <a:p>
            <a:pPr marL="266700" lvl="4" indent="-88900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 smtClean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 smtClean="0">
                <a:solidFill>
                  <a:schemeClr val="bg1"/>
                </a:solidFill>
              </a:rPr>
              <a:t>8</a:t>
            </a:r>
            <a:r>
              <a:rPr lang="ru-RU" sz="800" b="1" baseline="0" dirty="0" smtClean="0">
                <a:solidFill>
                  <a:schemeClr val="bg1"/>
                </a:solidFill>
              </a:rPr>
              <a:t> </a:t>
            </a:r>
            <a:r>
              <a:rPr lang="ru-RU" sz="800" b="1" baseline="0" dirty="0" err="1" smtClean="0">
                <a:solidFill>
                  <a:schemeClr val="bg1"/>
                </a:solidFill>
              </a:rPr>
              <a:t>пт</a:t>
            </a:r>
            <a:endParaRPr lang="ru-RU" sz="800" b="1" baseline="0" dirty="0" smtClean="0">
              <a:solidFill>
                <a:schemeClr val="bg1"/>
              </a:solidFill>
            </a:endParaRPr>
          </a:p>
          <a:p>
            <a:pPr marL="266700" lvl="4" indent="-88900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 smtClean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ru-RU" sz="800" b="1" baseline="0" dirty="0" smtClean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 smtClean="0">
              <a:solidFill>
                <a:schemeClr val="bg1"/>
              </a:solidFill>
            </a:endParaRPr>
          </a:p>
          <a:p>
            <a:pPr marL="182563" indent="-182563" algn="l" defTabSz="779163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700" lvl="1" indent="-79375" algn="l" defTabSz="779163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700" lvl="1" indent="-79375" algn="l" defTabSz="779163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700" lvl="1" indent="-79375" algn="l" defTabSz="779163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3" marR="0" lvl="0" indent="-182563" algn="l" defTabSz="77916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700" marR="0" lvl="1" indent="-84138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 smtClean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 smtClean="0">
                <a:solidFill>
                  <a:schemeClr val="bg1"/>
                </a:solidFill>
              </a:rPr>
              <a:t>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ru-RU" sz="800" baseline="0" dirty="0" smtClean="0">
                <a:solidFill>
                  <a:schemeClr val="bg1"/>
                </a:solidFill>
              </a:rPr>
              <a:t>иконок </a:t>
            </a:r>
            <a:r>
              <a:rPr lang="ru-RU" sz="800" dirty="0" smtClean="0">
                <a:solidFill>
                  <a:schemeClr val="bg1"/>
                </a:solidFill>
              </a:rPr>
              <a:t>в</a:t>
            </a:r>
            <a:r>
              <a:rPr lang="ru-RU" sz="800" baseline="0" dirty="0" smtClean="0">
                <a:solidFill>
                  <a:schemeClr val="bg1"/>
                </a:solidFill>
              </a:rPr>
              <a:t> едином стиле</a:t>
            </a:r>
            <a:endParaRPr lang="ru-RU" sz="800" b="1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3" marR="0" lvl="0" indent="-182563" algn="l" defTabSz="77916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 smtClean="0">
                <a:solidFill>
                  <a:schemeClr val="bg1"/>
                </a:solidFill>
              </a:rPr>
              <a:t>ИЗОБРАЖЕНИЯ</a:t>
            </a:r>
          </a:p>
          <a:p>
            <a:pPr marL="266700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/>
                </a:solidFill>
              </a:rPr>
              <a:t>Нельзя</a:t>
            </a:r>
            <a:r>
              <a:rPr lang="ru-RU" sz="800" baseline="0" dirty="0" smtClean="0">
                <a:solidFill>
                  <a:schemeClr val="bg1"/>
                </a:solidFill>
              </a:rPr>
              <a:t> искажать пропорции</a:t>
            </a:r>
          </a:p>
          <a:p>
            <a:pPr marL="266700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 smtClean="0">
                <a:solidFill>
                  <a:schemeClr val="bg1"/>
                </a:solidFill>
              </a:rPr>
              <a:t> – </a:t>
            </a:r>
            <a:br>
              <a:rPr lang="ru-RU" sz="800" baseline="0" dirty="0" smtClean="0">
                <a:solidFill>
                  <a:schemeClr val="bg1"/>
                </a:solidFill>
              </a:rPr>
            </a:br>
            <a:r>
              <a:rPr lang="ru-RU" sz="800" baseline="0" dirty="0" smtClean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 smtClean="0">
              <a:solidFill>
                <a:schemeClr val="bg1"/>
              </a:solidFill>
            </a:endParaRPr>
          </a:p>
          <a:p>
            <a:pPr marL="182563" marR="0" lvl="0" indent="-182563" algn="l" defTabSz="77916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700" marR="0" lvl="1" indent="-92075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700" marR="0" lvl="1" indent="-92075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700" marR="0" lvl="1" indent="-92075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5" marR="0" lvl="1" indent="-182563" algn="l" defTabSz="7791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 smtClean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 userDrawn="1"/>
        </p:nvSpPr>
        <p:spPr>
          <a:xfrm>
            <a:off x="9249089" y="68323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9249089" y="505283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9249089" y="3367556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9249089" y="2056666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9249089" y="2930586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9249091" y="505283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9249091" y="3367559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 userDrawn="1"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9249091" y="2056666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9249091" y="2930586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 userDrawn="1"/>
        </p:nvCxnSpPr>
        <p:spPr bwMode="auto">
          <a:xfrm>
            <a:off x="9746097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405" y="475534"/>
            <a:ext cx="1697913" cy="32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103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443574"/>
              </p:ext>
            </p:extLst>
          </p:nvPr>
        </p:nvGraphicFramePr>
        <p:xfrm>
          <a:off x="1475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2BF2484-B02A-4EB4-AC76-71FD59344F59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473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6C135BC-4EA8-4485-A4AB-59C642C9FFE5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3758624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5600" y="791494"/>
            <a:ext cx="8640749" cy="380864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3C34805-D988-44BE-A30A-275CC61E057D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6733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5600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4657725" y="1047753"/>
            <a:ext cx="4210050" cy="355044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 b="0"/>
            </a:lvl4pPr>
            <a:lvl5pPr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F9237854-F09E-44C4-9DF4-ECDAC340D09C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499516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5600" y="842281"/>
            <a:ext cx="2637293" cy="375558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155048" y="842282"/>
            <a:ext cx="2736304" cy="375558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6153507" y="842282"/>
            <a:ext cx="2736304" cy="3755587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D3F4D114-42B4-4A31-8D1B-169372E0F0E2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499450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255600" y="1276606"/>
            <a:ext cx="8636400" cy="3450451"/>
          </a:xfrm>
        </p:spPr>
        <p:txBody>
          <a:bodyPr numCol="6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1200" dirty="0"/>
            </a:lvl1pPr>
            <a:lvl4pPr marL="842740" indent="0">
              <a:buNone/>
              <a:defRPr/>
            </a:lvl4pPr>
            <a:lvl5pPr marL="1092992" indent="0">
              <a:buNone/>
              <a:defRPr/>
            </a:lvl5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255600" y="762136"/>
            <a:ext cx="2610593" cy="448751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3246309" y="764810"/>
            <a:ext cx="2632787" cy="448751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6259213" y="764810"/>
            <a:ext cx="2632787" cy="448751"/>
          </a:xfrm>
        </p:spPr>
        <p:txBody>
          <a:bodyPr anchor="b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3AFC10E9-2D37-4BCF-A163-EECE2844ABEC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1242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5600" y="1027510"/>
            <a:ext cx="4154439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55600" y="1507331"/>
            <a:ext cx="4154439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1704" y="1027510"/>
            <a:ext cx="4156071" cy="479822"/>
          </a:xfrm>
        </p:spPr>
        <p:txBody>
          <a:bodyPr anchor="ctr"/>
          <a:lstStyle>
            <a:lvl1pPr marL="0" indent="0">
              <a:buNone/>
              <a:defRPr sz="1500" b="1"/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11704" y="1507331"/>
            <a:ext cx="4156071" cy="3074194"/>
          </a:xfrm>
        </p:spPr>
        <p:txBody>
          <a:bodyPr/>
          <a:lstStyle>
            <a:lvl1pPr>
              <a:defRPr sz="1500"/>
            </a:lvl1pPr>
            <a:lvl2pPr>
              <a:defRPr sz="1400"/>
            </a:lvl2pPr>
            <a:lvl3pPr>
              <a:defRPr sz="1300"/>
            </a:lvl3pPr>
            <a:lvl4pPr>
              <a:defRPr sz="1000"/>
            </a:lvl4pPr>
            <a:lvl5pPr>
              <a:defRPr sz="10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B515BA3-50F0-4C3C-9AA8-A1F5D89E54B5}" type="datetime1">
              <a:rPr lang="ru-RU" smtClean="0"/>
              <a:t>31.03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77130787"/>
              </p:ext>
            </p:extLst>
          </p:nvPr>
        </p:nvGraphicFramePr>
        <p:xfrm>
          <a:off x="1473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473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4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0"/>
            <a:ext cx="8636400" cy="3744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1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5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7D7688D6-CA00-4189-9B5F-DE6DF6DC6191}" type="datetime1">
              <a:rPr lang="ru-RU" smtClean="0"/>
              <a:t>31.03.2022</a:t>
            </a:fld>
            <a:endParaRPr lang="ru-RU"/>
          </a:p>
        </p:txBody>
      </p:sp>
      <p:cxnSp>
        <p:nvCxnSpPr>
          <p:cNvPr id="45" name="Прямая соединительная линия 44"/>
          <p:cNvCxnSpPr/>
          <p:nvPr userDrawn="1"/>
        </p:nvCxnSpPr>
        <p:spPr bwMode="auto">
          <a:xfrm>
            <a:off x="6426200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 userDrawn="1"/>
        </p:nvSpPr>
        <p:spPr>
          <a:xfrm>
            <a:off x="9249089" y="0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 userDrawn="1"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9249089" y="436960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 userDrawn="1"/>
        </p:nvSpPr>
        <p:spPr>
          <a:xfrm>
            <a:off x="9249089" y="3299233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 userDrawn="1"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9249089" y="1988343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 userDrawn="1"/>
        </p:nvSpPr>
        <p:spPr>
          <a:xfrm>
            <a:off x="9249089" y="2425307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9249091" y="436960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9249091" y="3299236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9249091" y="1988343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9249091" y="2425307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99" r:id="rId2"/>
    <p:sldLayoutId id="2147483717" r:id="rId3"/>
    <p:sldLayoutId id="2147483718" r:id="rId4"/>
    <p:sldLayoutId id="2147483725" r:id="rId5"/>
    <p:sldLayoutId id="2147483715" r:id="rId6"/>
    <p:sldLayoutId id="2147483713" r:id="rId7"/>
    <p:sldLayoutId id="2147483724" r:id="rId8"/>
    <p:sldLayoutId id="2147483716" r:id="rId9"/>
    <p:sldLayoutId id="2147484200" r:id="rId10"/>
    <p:sldLayoutId id="2147484201" r:id="rId11"/>
    <p:sldLayoutId id="2147484202" r:id="rId12"/>
    <p:sldLayoutId id="2147484203" r:id="rId13"/>
    <p:sldLayoutId id="2147484204" r:id="rId14"/>
    <p:sldLayoutId id="2147483729" r:id="rId15"/>
    <p:sldLayoutId id="2147484205" r:id="rId16"/>
    <p:sldLayoutId id="2147484206" r:id="rId17"/>
    <p:sldLayoutId id="2147484207" r:id="rId18"/>
    <p:sldLayoutId id="214748420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5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0850" indent="-15716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717550" indent="-1254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84250" indent="-1412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57300" indent="-16351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55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68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81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93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1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5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51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63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78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89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2" algn="l" defTabSz="77902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09" userDrawn="1">
          <p15:clr>
            <a:srgbClr val="F26B43"/>
          </p15:clr>
        </p15:guide>
        <p15:guide id="2" pos="158" userDrawn="1">
          <p15:clr>
            <a:srgbClr val="F26B43"/>
          </p15:clr>
        </p15:guide>
        <p15:guide id="3" orient="horz" pos="2958" userDrawn="1">
          <p15:clr>
            <a:srgbClr val="F26B43"/>
          </p15:clr>
        </p15:guide>
        <p15:guide id="4" pos="56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Relationship Id="rId9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g"/><Relationship Id="rId3" Type="http://schemas.openxmlformats.org/officeDocument/2006/relationships/image" Target="../media/image26.jpeg"/><Relationship Id="rId7" Type="http://schemas.openxmlformats.org/officeDocument/2006/relationships/image" Target="../media/image32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5.png"/><Relationship Id="rId5" Type="http://schemas.openxmlformats.org/officeDocument/2006/relationships/image" Target="../media/image57.jpg"/><Relationship Id="rId4" Type="http://schemas.openxmlformats.org/officeDocument/2006/relationships/image" Target="../media/image5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6.tiff"/><Relationship Id="rId4" Type="http://schemas.openxmlformats.org/officeDocument/2006/relationships/image" Target="../media/image75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emf"/><Relationship Id="rId3" Type="http://schemas.openxmlformats.org/officeDocument/2006/relationships/image" Target="../media/image83.png"/><Relationship Id="rId7" Type="http://schemas.openxmlformats.org/officeDocument/2006/relationships/image" Target="../media/image8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3.jpeg"/><Relationship Id="rId4" Type="http://schemas.openxmlformats.org/officeDocument/2006/relationships/image" Target="../media/image9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5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Scissoring.gif?uselang=ru" TargetMode="External"/><Relationship Id="rId13" Type="http://schemas.openxmlformats.org/officeDocument/2006/relationships/image" Target="../media/image101.gif"/><Relationship Id="rId3" Type="http://schemas.openxmlformats.org/officeDocument/2006/relationships/image" Target="../media/image96.jpeg"/><Relationship Id="rId7" Type="http://schemas.openxmlformats.org/officeDocument/2006/relationships/image" Target="../media/image98.gif"/><Relationship Id="rId12" Type="http://schemas.openxmlformats.org/officeDocument/2006/relationships/hyperlink" Target="https://commons.wikimedia.org/wiki/File:Wagging.gif?uselang=ru" TargetMode="External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03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ons.wikimedia.org/wiki/File:Symmetrical_stretching.gif?uselang=ru" TargetMode="External"/><Relationship Id="rId11" Type="http://schemas.openxmlformats.org/officeDocument/2006/relationships/image" Target="../media/image100.gif"/><Relationship Id="rId5" Type="http://schemas.openxmlformats.org/officeDocument/2006/relationships/image" Target="../media/image97.gif"/><Relationship Id="rId15" Type="http://schemas.openxmlformats.org/officeDocument/2006/relationships/image" Target="../media/image102.gif"/><Relationship Id="rId10" Type="http://schemas.openxmlformats.org/officeDocument/2006/relationships/hyperlink" Target="https://commons.wikimedia.org/wiki/File:Modo_rotacao.gif?uselang=ru" TargetMode="External"/><Relationship Id="rId4" Type="http://schemas.openxmlformats.org/officeDocument/2006/relationships/hyperlink" Target="https://commons.wikimedia.org/wiki/File:Asymmetrical_stretching.gif?uselang=ru" TargetMode="External"/><Relationship Id="rId9" Type="http://schemas.openxmlformats.org/officeDocument/2006/relationships/image" Target="../media/image99.gif"/><Relationship Id="rId14" Type="http://schemas.openxmlformats.org/officeDocument/2006/relationships/hyperlink" Target="https://commons.wikimedia.org/wiki/File:Twisting.gif?uselang=ru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microsoft.com/office/2007/relationships/hdphoto" Target="../media/hdphoto3.wdp"/><Relationship Id="rId4" Type="http://schemas.openxmlformats.org/officeDocument/2006/relationships/image" Target="../media/image10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microsoft.com/office/2007/relationships/hdphoto" Target="../media/hdphoto1.wdp"/><Relationship Id="rId9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gif"/><Relationship Id="rId7" Type="http://schemas.openxmlformats.org/officeDocument/2006/relationships/image" Target="../media/image110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9.png"/><Relationship Id="rId5" Type="http://schemas.openxmlformats.org/officeDocument/2006/relationships/image" Target="../media/image108.jpg"/><Relationship Id="rId4" Type="http://schemas.openxmlformats.org/officeDocument/2006/relationships/image" Target="../media/image107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jpeg"/><Relationship Id="rId3" Type="http://schemas.openxmlformats.org/officeDocument/2006/relationships/image" Target="../media/image520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ti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7" Type="http://schemas.openxmlformats.org/officeDocument/2006/relationships/image" Target="../media/image12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9.jpeg"/><Relationship Id="rId5" Type="http://schemas.openxmlformats.org/officeDocument/2006/relationships/image" Target="../media/image118.jpeg"/><Relationship Id="rId4" Type="http://schemas.openxmlformats.org/officeDocument/2006/relationships/image" Target="../media/image117.jpe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3" Type="http://schemas.openxmlformats.org/officeDocument/2006/relationships/hyperlink" Target="https://www.google.com/url?sa=i&amp;rct=j&amp;q=&amp;esrc=s&amp;source=images&amp;cd=&amp;cad=rja&amp;uact=8&amp;ved=2ahUKEwjDh_u-zqveAhWBqiwKHYupA5cQjRx6BAgBEAU&amp;url=https://en.wikipedia.org/wiki/Soxhlet_extractor&amp;psig=AOvVaw189DMtpKvs-i8rz40LqcG6&amp;ust=1540901207280678" TargetMode="External"/><Relationship Id="rId7" Type="http://schemas.openxmlformats.org/officeDocument/2006/relationships/image" Target="../media/image12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3.png"/><Relationship Id="rId5" Type="http://schemas.openxmlformats.org/officeDocument/2006/relationships/image" Target="../media/image122.jpeg"/><Relationship Id="rId4" Type="http://schemas.openxmlformats.org/officeDocument/2006/relationships/image" Target="../media/image121.gi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7" Type="http://schemas.openxmlformats.org/officeDocument/2006/relationships/image" Target="../media/image131.pn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0.png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image" Target="../media/image13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5.png"/><Relationship Id="rId4" Type="http://schemas.openxmlformats.org/officeDocument/2006/relationships/image" Target="../media/image13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7" Type="http://schemas.openxmlformats.org/officeDocument/2006/relationships/image" Target="../media/image138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microsoft.com/office/2007/relationships/hdphoto" Target="../media/hdphoto5.wdp"/><Relationship Id="rId5" Type="http://schemas.openxmlformats.org/officeDocument/2006/relationships/image" Target="../media/image137.png"/><Relationship Id="rId4" Type="http://schemas.microsoft.com/office/2007/relationships/hdphoto" Target="../media/hdphoto4.wdp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3.jpeg"/><Relationship Id="rId5" Type="http://schemas.openxmlformats.org/officeDocument/2006/relationships/image" Target="../media/image142.jpeg"/><Relationship Id="rId4" Type="http://schemas.openxmlformats.org/officeDocument/2006/relationships/image" Target="../media/image141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g"/><Relationship Id="rId3" Type="http://schemas.openxmlformats.org/officeDocument/2006/relationships/image" Target="../media/image109.png"/><Relationship Id="rId7" Type="http://schemas.openxmlformats.org/officeDocument/2006/relationships/image" Target="../media/image96.jpeg"/><Relationship Id="rId2" Type="http://schemas.openxmlformats.org/officeDocument/2006/relationships/image" Target="../media/image108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0.jpg"/><Relationship Id="rId5" Type="http://schemas.openxmlformats.org/officeDocument/2006/relationships/image" Target="../media/image126.jpeg"/><Relationship Id="rId4" Type="http://schemas.openxmlformats.org/officeDocument/2006/relationships/image" Target="../media/image144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jpg"/><Relationship Id="rId2" Type="http://schemas.openxmlformats.org/officeDocument/2006/relationships/hyperlink" Target="mailto:VasilevaEP@sibur.ru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Рекламационный анализ: принципы, методы исследования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Асланян Артур</a:t>
            </a:r>
          </a:p>
          <a:p>
            <a:r>
              <a:rPr lang="ru-RU" dirty="0" smtClean="0"/>
              <a:t>Брусина Юлия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841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ажнейшие эксплуатационные свойства пленок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2015710" y="900974"/>
            <a:ext cx="5116180" cy="3832723"/>
            <a:chOff x="4086604" y="1049277"/>
            <a:chExt cx="4268968" cy="3090100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4086604" y="1049277"/>
              <a:ext cx="4268968" cy="3090100"/>
              <a:chOff x="107950" y="1461501"/>
              <a:chExt cx="8243890" cy="4739274"/>
            </a:xfrm>
          </p:grpSpPr>
          <p:pic>
            <p:nvPicPr>
              <p:cNvPr id="7" name="Picture 14" descr="pack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71801" y="1524000"/>
                <a:ext cx="3319464" cy="4676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" name="Picture 16" descr="inert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7688" y="2695575"/>
                <a:ext cx="3173412" cy="612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" name="Picture 17" descr="ps1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1445" y="3544817"/>
                <a:ext cx="2057400" cy="11382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Picture 19" descr="moisture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2050" y="5000625"/>
                <a:ext cx="2176463" cy="10017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Picture 20" descr="flavour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72125" y="4381500"/>
                <a:ext cx="2779713" cy="773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Picture 21" descr="taint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95950" y="5067300"/>
                <a:ext cx="1809750" cy="7127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Picture 22" descr="uv_light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37252" y="1642269"/>
                <a:ext cx="2414588" cy="13033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" name="Text Box 27"/>
              <p:cNvSpPr txBox="1">
                <a:spLocks noChangeArrowheads="1"/>
              </p:cNvSpPr>
              <p:nvPr/>
            </p:nvSpPr>
            <p:spPr bwMode="auto">
              <a:xfrm>
                <a:off x="2971799" y="5683412"/>
                <a:ext cx="1930895" cy="31892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1A3C7E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36000" rIns="72000" bIns="3600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pPr algn="l" eaLnBrk="1" hangingPunct="1">
                  <a:spcBef>
                    <a:spcPct val="50000"/>
                  </a:spcBef>
                </a:pPr>
                <a:r>
                  <a:rPr lang="ru-RU" altLang="ru-RU" sz="1600" b="1" dirty="0" smtClean="0">
                    <a:solidFill>
                      <a:srgbClr val="1A3C7E"/>
                    </a:solidFill>
                    <a:latin typeface="Arial" pitchFamily="34" charset="0"/>
                    <a:cs typeface="Arial" pitchFamily="34" charset="0"/>
                  </a:rPr>
                  <a:t>Целостность</a:t>
                </a:r>
                <a:r>
                  <a:rPr lang="pl-PL" altLang="ru-RU" sz="1600" b="1" dirty="0" smtClean="0">
                    <a:solidFill>
                      <a:srgbClr val="1A3C7E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ru-RU" altLang="ru-RU" sz="1600" b="1" dirty="0">
                    <a:solidFill>
                      <a:srgbClr val="1A3C7E"/>
                    </a:solidFill>
                    <a:latin typeface="Arial" pitchFamily="34" charset="0"/>
                    <a:cs typeface="Arial" pitchFamily="34" charset="0"/>
                  </a:rPr>
                  <a:t>шва</a:t>
                </a:r>
              </a:p>
            </p:txBody>
          </p:sp>
          <p:grpSp>
            <p:nvGrpSpPr>
              <p:cNvPr id="15" name="Group 29"/>
              <p:cNvGrpSpPr>
                <a:grpSpLocks/>
              </p:cNvGrpSpPr>
              <p:nvPr/>
            </p:nvGrpSpPr>
            <p:grpSpPr bwMode="auto">
              <a:xfrm>
                <a:off x="1131888" y="1700213"/>
                <a:ext cx="2476500" cy="955675"/>
                <a:chOff x="713" y="1071"/>
                <a:chExt cx="1560" cy="602"/>
              </a:xfrm>
            </p:grpSpPr>
            <p:pic>
              <p:nvPicPr>
                <p:cNvPr id="31" name="Picture 15" descr="oxygen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41" y="1071"/>
                  <a:ext cx="1532" cy="58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2" name="Rectangle 28"/>
                <p:cNvSpPr>
                  <a:spLocks noChangeArrowheads="1"/>
                </p:cNvSpPr>
                <p:nvPr/>
              </p:nvSpPr>
              <p:spPr bwMode="auto">
                <a:xfrm>
                  <a:off x="713" y="1445"/>
                  <a:ext cx="631" cy="22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3175" algn="ctr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TodaySB" pitchFamily="2" charset="0"/>
                    </a:defRPr>
                  </a:lvl9pPr>
                </a:lstStyle>
                <a:p>
                  <a:endParaRPr lang="ru-RU" altLang="ru-RU"/>
                </a:p>
              </p:txBody>
            </p:sp>
          </p:grpSp>
          <p:sp>
            <p:nvSpPr>
              <p:cNvPr id="16" name="Rectangle 30"/>
              <p:cNvSpPr>
                <a:spLocks noChangeArrowheads="1"/>
              </p:cNvSpPr>
              <p:nvPr/>
            </p:nvSpPr>
            <p:spPr bwMode="auto">
              <a:xfrm>
                <a:off x="998538" y="2332038"/>
                <a:ext cx="1047750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r>
                  <a:rPr lang="pl-PL" altLang="ru-RU" sz="1600" b="1">
                    <a:solidFill>
                      <a:srgbClr val="000099"/>
                    </a:solidFill>
                    <a:latin typeface="Arial" pitchFamily="34" charset="0"/>
                  </a:rPr>
                  <a:t> </a:t>
                </a:r>
                <a:r>
                  <a:rPr lang="ru-RU" altLang="ru-RU" sz="1600" b="1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Кислород</a:t>
                </a:r>
                <a:endParaRPr lang="ru-RU" altLang="ru-RU" sz="160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" name="Rectangle 33"/>
              <p:cNvSpPr>
                <a:spLocks noChangeArrowheads="1"/>
              </p:cNvSpPr>
              <p:nvPr/>
            </p:nvSpPr>
            <p:spPr bwMode="auto">
              <a:xfrm>
                <a:off x="377825" y="2887663"/>
                <a:ext cx="2119313" cy="5238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18" name="Rectangle 34"/>
              <p:cNvSpPr>
                <a:spLocks noChangeArrowheads="1"/>
              </p:cNvSpPr>
              <p:nvPr/>
            </p:nvSpPr>
            <p:spPr bwMode="auto">
              <a:xfrm>
                <a:off x="263525" y="3022600"/>
                <a:ext cx="2143125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r>
                  <a:rPr lang="ru-RU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Инертная</a:t>
                </a:r>
                <a:r>
                  <a:rPr lang="pl-PL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ru-RU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атмосфера</a:t>
                </a:r>
                <a:endParaRPr lang="ru-RU" altLang="ru-RU" sz="1600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Rectangle 36"/>
              <p:cNvSpPr>
                <a:spLocks noChangeArrowheads="1"/>
              </p:cNvSpPr>
              <p:nvPr/>
            </p:nvSpPr>
            <p:spPr bwMode="auto">
              <a:xfrm>
                <a:off x="1001713" y="3454400"/>
                <a:ext cx="1276350" cy="6096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20" name="Rectangle 37"/>
              <p:cNvSpPr>
                <a:spLocks noChangeArrowheads="1"/>
              </p:cNvSpPr>
              <p:nvPr/>
            </p:nvSpPr>
            <p:spPr bwMode="auto">
              <a:xfrm>
                <a:off x="107950" y="3708400"/>
                <a:ext cx="2149475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r>
                  <a:rPr lang="ru-RU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Физические</a:t>
                </a:r>
                <a:r>
                  <a:rPr lang="pl-PL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ru-RU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нагрузки</a:t>
                </a:r>
                <a:endParaRPr lang="ru-RU" altLang="ru-RU" sz="1600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Rectangle 38"/>
              <p:cNvSpPr>
                <a:spLocks noChangeArrowheads="1"/>
              </p:cNvSpPr>
              <p:nvPr/>
            </p:nvSpPr>
            <p:spPr bwMode="auto">
              <a:xfrm>
                <a:off x="7024688" y="3352800"/>
                <a:ext cx="1204912" cy="8413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22" name="Rectangle 40"/>
              <p:cNvSpPr>
                <a:spLocks noChangeArrowheads="1"/>
              </p:cNvSpPr>
              <p:nvPr/>
            </p:nvSpPr>
            <p:spPr bwMode="auto">
              <a:xfrm>
                <a:off x="973138" y="5268913"/>
                <a:ext cx="1233487" cy="3048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23" name="Rectangle 41"/>
              <p:cNvSpPr>
                <a:spLocks noChangeArrowheads="1"/>
              </p:cNvSpPr>
              <p:nvPr/>
            </p:nvSpPr>
            <p:spPr bwMode="auto">
              <a:xfrm>
                <a:off x="1062038" y="5268913"/>
                <a:ext cx="1116012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r>
                  <a:rPr lang="ru-RU" altLang="ru-RU" sz="1600" b="1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Влажность</a:t>
                </a:r>
                <a:endParaRPr lang="ru-RU" altLang="ru-RU" sz="160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Rectangle 42"/>
              <p:cNvSpPr>
                <a:spLocks noChangeArrowheads="1"/>
              </p:cNvSpPr>
              <p:nvPr/>
            </p:nvSpPr>
            <p:spPr bwMode="auto">
              <a:xfrm>
                <a:off x="6357938" y="1654175"/>
                <a:ext cx="1016000" cy="3349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25" name="Rectangle 43"/>
              <p:cNvSpPr>
                <a:spLocks noChangeArrowheads="1"/>
              </p:cNvSpPr>
              <p:nvPr/>
            </p:nvSpPr>
            <p:spPr bwMode="auto">
              <a:xfrm>
                <a:off x="6396039" y="1682750"/>
                <a:ext cx="115" cy="3685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 sz="1600" b="1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Rectangle 44"/>
              <p:cNvSpPr>
                <a:spLocks noChangeArrowheads="1"/>
              </p:cNvSpPr>
              <p:nvPr/>
            </p:nvSpPr>
            <p:spPr bwMode="auto">
              <a:xfrm>
                <a:off x="6835775" y="4543425"/>
                <a:ext cx="885825" cy="4492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27" name="Rectangle 45"/>
              <p:cNvSpPr>
                <a:spLocks noChangeArrowheads="1"/>
              </p:cNvSpPr>
              <p:nvPr/>
            </p:nvSpPr>
            <p:spPr bwMode="auto">
              <a:xfrm>
                <a:off x="6214271" y="4194175"/>
                <a:ext cx="930275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r>
                  <a:rPr lang="ru-RU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Ароматы</a:t>
                </a:r>
              </a:p>
            </p:txBody>
          </p:sp>
          <p:sp>
            <p:nvSpPr>
              <p:cNvPr id="28" name="Rectangle 46"/>
              <p:cNvSpPr>
                <a:spLocks noChangeArrowheads="1"/>
              </p:cNvSpPr>
              <p:nvPr/>
            </p:nvSpPr>
            <p:spPr bwMode="auto">
              <a:xfrm>
                <a:off x="6865938" y="4949825"/>
                <a:ext cx="841375" cy="508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  <p:sp>
            <p:nvSpPr>
              <p:cNvPr id="29" name="Rectangle 47"/>
              <p:cNvSpPr>
                <a:spLocks noChangeArrowheads="1"/>
              </p:cNvSpPr>
              <p:nvPr/>
            </p:nvSpPr>
            <p:spPr bwMode="auto">
              <a:xfrm>
                <a:off x="6143625" y="5134976"/>
                <a:ext cx="1762125" cy="2444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r>
                  <a:rPr lang="ru-RU" altLang="ru-RU" sz="1600" b="1" dirty="0">
                    <a:solidFill>
                      <a:srgbClr val="000099"/>
                    </a:solidFill>
                    <a:latin typeface="Arial" pitchFamily="34" charset="0"/>
                    <a:cs typeface="Arial" pitchFamily="34" charset="0"/>
                  </a:rPr>
                  <a:t>Микроорганизмы</a:t>
                </a:r>
              </a:p>
            </p:txBody>
          </p:sp>
          <p:sp>
            <p:nvSpPr>
              <p:cNvPr id="30" name="Text Box 48"/>
              <p:cNvSpPr txBox="1">
                <a:spLocks noChangeArrowheads="1"/>
              </p:cNvSpPr>
              <p:nvPr/>
            </p:nvSpPr>
            <p:spPr bwMode="auto">
              <a:xfrm>
                <a:off x="2928350" y="1461501"/>
                <a:ext cx="3429588" cy="4774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1A3C7E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72000" tIns="36000" rIns="72000" bIns="36000">
                <a:spAutoFit/>
              </a:bodyPr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pPr algn="l" eaLnBrk="1" hangingPunct="1">
                  <a:spcBef>
                    <a:spcPct val="50000"/>
                  </a:spcBef>
                </a:pPr>
                <a:r>
                  <a:rPr lang="ru-RU" altLang="ru-RU" sz="1600" b="1" dirty="0" smtClean="0">
                    <a:solidFill>
                      <a:srgbClr val="1A3C7E"/>
                    </a:solidFill>
                    <a:latin typeface="Arial" pitchFamily="34" charset="0"/>
                    <a:cs typeface="Arial" pitchFamily="34" charset="0"/>
                  </a:rPr>
                  <a:t>Целостность</a:t>
                </a:r>
                <a:r>
                  <a:rPr lang="pl-PL" altLang="ru-RU" sz="1600" b="1" dirty="0" smtClean="0">
                    <a:solidFill>
                      <a:srgbClr val="1A3C7E"/>
                    </a:solidFill>
                    <a:latin typeface="Arial" pitchFamily="34" charset="0"/>
                    <a:cs typeface="Arial" pitchFamily="34" charset="0"/>
                  </a:rPr>
                  <a:t> </a:t>
                </a:r>
                <a:r>
                  <a:rPr lang="ru-RU" altLang="ru-RU" sz="1600" b="1" dirty="0">
                    <a:solidFill>
                      <a:srgbClr val="1A3C7E"/>
                    </a:solidFill>
                    <a:latin typeface="Arial" pitchFamily="34" charset="0"/>
                    <a:cs typeface="Arial" pitchFamily="34" charset="0"/>
                  </a:rPr>
                  <a:t>шва</a:t>
                </a:r>
              </a:p>
            </p:txBody>
          </p:sp>
        </p:grpSp>
        <p:sp>
          <p:nvSpPr>
            <p:cNvPr id="6" name="Rectangle 39"/>
            <p:cNvSpPr>
              <a:spLocks noChangeArrowheads="1"/>
            </p:cNvSpPr>
            <p:nvPr/>
          </p:nvSpPr>
          <p:spPr bwMode="auto">
            <a:xfrm>
              <a:off x="7505258" y="1057176"/>
              <a:ext cx="80272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r>
                <a:rPr lang="ru-RU" altLang="ru-RU" sz="1600" b="1" dirty="0" smtClean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УФ свет</a:t>
              </a:r>
              <a:endParaRPr lang="ru-RU" altLang="ru-RU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Номер слайда 3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9859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енка прочности плёнок: определение прочности при </a:t>
            </a:r>
            <a:r>
              <a:rPr lang="ru-RU" dirty="0" err="1" smtClean="0"/>
              <a:t>раздире</a:t>
            </a:r>
            <a:endParaRPr lang="ru-RU" dirty="0"/>
          </a:p>
        </p:txBody>
      </p:sp>
      <p:sp>
        <p:nvSpPr>
          <p:cNvPr id="4" name="Объект 5"/>
          <p:cNvSpPr txBox="1">
            <a:spLocks/>
          </p:cNvSpPr>
          <p:nvPr/>
        </p:nvSpPr>
        <p:spPr>
          <a:xfrm>
            <a:off x="443004" y="503340"/>
            <a:ext cx="4040188" cy="305990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dirty="0" smtClean="0"/>
              <a:t>Метод </a:t>
            </a:r>
            <a:r>
              <a:rPr lang="ru-RU" sz="1200" b="1" kern="0" dirty="0" err="1" smtClean="0"/>
              <a:t>Эльмендорфа</a:t>
            </a:r>
            <a:endParaRPr lang="ru-RU" sz="1200" b="1" kern="0" dirty="0" smtClean="0"/>
          </a:p>
          <a:p>
            <a:pPr algn="ctr" defTabSz="914400"/>
            <a:endParaRPr lang="ru-RU" sz="1800" kern="0" dirty="0"/>
          </a:p>
        </p:txBody>
      </p:sp>
      <p:sp>
        <p:nvSpPr>
          <p:cNvPr id="5" name="Объект 7"/>
          <p:cNvSpPr txBox="1">
            <a:spLocks/>
          </p:cNvSpPr>
          <p:nvPr/>
        </p:nvSpPr>
        <p:spPr>
          <a:xfrm>
            <a:off x="4634761" y="503340"/>
            <a:ext cx="4041775" cy="305990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800" kern="0" smtClean="0"/>
              <a:t> </a:t>
            </a:r>
            <a:r>
              <a:rPr lang="ru-RU" sz="1200" b="1" kern="0" smtClean="0"/>
              <a:t>«Брючный метод»</a:t>
            </a:r>
            <a:endParaRPr lang="ru-RU" sz="1200" b="1" kern="0" dirty="0"/>
          </a:p>
        </p:txBody>
      </p:sp>
      <p:pic>
        <p:nvPicPr>
          <p:cNvPr id="6" name="Picture 2" descr="C:\Users\AslanyanAS\Desktop\Картинки\pl13378063-digital_universal_elmendorf_tear_tester_electronic_astm_d1424_film_elmendorf_tearing_tester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82" b="18594"/>
          <a:stretch/>
        </p:blipFill>
        <p:spPr bwMode="auto">
          <a:xfrm>
            <a:off x="396217" y="1020689"/>
            <a:ext cx="2252854" cy="1613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435" y="1086004"/>
            <a:ext cx="1700121" cy="1306213"/>
          </a:xfrm>
          <a:prstGeom prst="rect">
            <a:avLst/>
          </a:prstGeom>
        </p:spPr>
      </p:pic>
      <p:pic>
        <p:nvPicPr>
          <p:cNvPr id="8" name="Picture 2" descr="C:\Users\AslanyanAS\Desktop\Картинки\b965c0_d7f5ec7f945e46e3a3c92765f5a7bf42~mv2_d_4000_6000_s_4_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4" b="8167"/>
          <a:stretch/>
        </p:blipFill>
        <p:spPr bwMode="auto">
          <a:xfrm>
            <a:off x="5274134" y="1020689"/>
            <a:ext cx="1268621" cy="1627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Efimkindyu\Desktop\nf,k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8754" y="1086004"/>
            <a:ext cx="1170019" cy="1613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96217" y="2658735"/>
            <a:ext cx="391885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/>
              <a:t>Описание</a:t>
            </a:r>
            <a:endParaRPr lang="ru-RU" sz="1100" b="1" dirty="0"/>
          </a:p>
          <a:p>
            <a:pPr algn="just"/>
            <a:r>
              <a:rPr lang="ru-RU" sz="1100" dirty="0">
                <a:solidFill>
                  <a:prstClr val="black"/>
                </a:solidFill>
              </a:rPr>
              <a:t>С</a:t>
            </a:r>
            <a:r>
              <a:rPr lang="ru-RU" sz="1100" dirty="0" smtClean="0"/>
              <a:t>опротивление </a:t>
            </a:r>
            <a:r>
              <a:rPr lang="ru-RU" sz="1100" dirty="0" err="1" smtClean="0"/>
              <a:t>раздиру</a:t>
            </a:r>
            <a:r>
              <a:rPr lang="ru-RU" sz="1100" dirty="0" smtClean="0"/>
              <a:t> </a:t>
            </a:r>
            <a:r>
              <a:rPr lang="ru-RU" sz="1100" dirty="0"/>
              <a:t>по методу </a:t>
            </a:r>
            <a:r>
              <a:rPr lang="ru-RU" sz="1100" dirty="0" err="1"/>
              <a:t>Эльмендорфа</a:t>
            </a:r>
            <a:r>
              <a:rPr lang="ru-RU" sz="1100" dirty="0"/>
              <a:t> </a:t>
            </a:r>
            <a:r>
              <a:rPr lang="ru-RU" sz="1100" dirty="0" smtClean="0"/>
              <a:t>разработано </a:t>
            </a:r>
            <a:r>
              <a:rPr lang="ru-RU" sz="1100" dirty="0"/>
              <a:t>для измерения прочности на разрыв </a:t>
            </a:r>
            <a:r>
              <a:rPr lang="ru-RU" sz="1100" dirty="0" smtClean="0"/>
              <a:t>образцов. Измерение основано </a:t>
            </a:r>
            <a:r>
              <a:rPr lang="ru-RU" sz="1100" dirty="0"/>
              <a:t>на теории преобразования потенциальной энергии в кинетическую. </a:t>
            </a:r>
            <a:endParaRPr lang="en-US" sz="11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274134" y="2684859"/>
            <a:ext cx="340240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/>
              <a:t>Описание</a:t>
            </a:r>
            <a:endParaRPr lang="ru-RU" sz="1100" b="1" dirty="0"/>
          </a:p>
          <a:p>
            <a:pPr algn="just" defTabSz="778721"/>
            <a:r>
              <a:rPr lang="ru-RU" sz="1100" dirty="0">
                <a:solidFill>
                  <a:prstClr val="black"/>
                </a:solidFill>
              </a:rPr>
              <a:t>«Брючный» метод заключается в растяжении испытуемого образца с концентратором напряжения с постоянной </a:t>
            </a:r>
            <a:r>
              <a:rPr lang="ru-RU" sz="1100" dirty="0" smtClean="0">
                <a:solidFill>
                  <a:prstClr val="black"/>
                </a:solidFill>
              </a:rPr>
              <a:t>скоростью.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96217" y="3612180"/>
            <a:ext cx="344966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 smtClean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Оптимизация технологических процессов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Исследовательские работы</a:t>
            </a:r>
            <a:endParaRPr lang="ru-RU" sz="1100" dirty="0"/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516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Оценка прочности </a:t>
            </a:r>
            <a:r>
              <a:rPr lang="ru-RU" dirty="0" smtClean="0"/>
              <a:t>плёнок: определение ударной прочности плёнок</a:t>
            </a:r>
            <a:endParaRPr lang="ru-RU" dirty="0"/>
          </a:p>
        </p:txBody>
      </p:sp>
      <p:pic>
        <p:nvPicPr>
          <p:cNvPr id="4" name="Picture 2" descr="C:\Users\schapovaea\Desktop\к презентахе\1248127823_w640_h640_cid2955051_pid743504646-d624aa87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24" r="23822"/>
          <a:stretch/>
        </p:blipFill>
        <p:spPr bwMode="auto">
          <a:xfrm>
            <a:off x="6090184" y="733740"/>
            <a:ext cx="2801816" cy="4039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55600" y="733740"/>
            <a:ext cx="5310051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/>
              <a:t>Описание</a:t>
            </a:r>
            <a:endParaRPr lang="ru-RU" sz="1100" dirty="0">
              <a:solidFill>
                <a:prstClr val="black"/>
              </a:solidFill>
            </a:endParaRPr>
          </a:p>
          <a:p>
            <a:pPr algn="just" defTabSz="778721"/>
            <a:r>
              <a:rPr lang="ru-RU" sz="1100" dirty="0">
                <a:solidFill>
                  <a:prstClr val="black"/>
                </a:solidFill>
              </a:rPr>
              <a:t>В процессе испытания проводят равномерное изменение массы падающего груза, которую уменьшают или увеличивают на одинаковую величину после испытаний каждого образца в зависимости от результата (разрушился образец или не разрушился),</a:t>
            </a:r>
            <a:r>
              <a:rPr lang="en-US" sz="1100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наблюдаемого для данного образца. Заполняется таблица и вычисляется средняя масса падающего груза при 5</a:t>
            </a:r>
            <a:r>
              <a:rPr lang="en-US" sz="1100" dirty="0">
                <a:solidFill>
                  <a:prstClr val="black"/>
                </a:solidFill>
              </a:rPr>
              <a:t>0% </a:t>
            </a:r>
            <a:r>
              <a:rPr lang="ru-RU" sz="1100" dirty="0">
                <a:solidFill>
                  <a:prstClr val="black"/>
                </a:solidFill>
              </a:rPr>
              <a:t> разрушенных образцов</a:t>
            </a:r>
            <a:endParaRPr lang="en-US" sz="1100" b="1" dirty="0">
              <a:solidFill>
                <a:prstClr val="black"/>
              </a:solidFill>
            </a:endParaRPr>
          </a:p>
          <a:p>
            <a:pPr algn="just" defTabSz="778721"/>
            <a:endParaRPr lang="ru-RU" sz="1200" dirty="0">
              <a:solidFill>
                <a:prstClr val="black"/>
              </a:solidFill>
            </a:endParaRPr>
          </a:p>
        </p:txBody>
      </p:sp>
      <p:pic>
        <p:nvPicPr>
          <p:cNvPr id="6" name="Picture 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163"/>
          <a:stretch/>
        </p:blipFill>
        <p:spPr bwMode="auto">
          <a:xfrm>
            <a:off x="829483" y="2265223"/>
            <a:ext cx="4310751" cy="15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55599" y="3834878"/>
            <a:ext cx="5310051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</a:t>
            </a:r>
            <a:r>
              <a:rPr lang="ru-RU" sz="1100" dirty="0" smtClean="0"/>
              <a:t>и паспортизация продукции</a:t>
            </a:r>
            <a:endParaRPr lang="ru-RU" sz="1100" dirty="0"/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Оптимизация технологических процессов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993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блокирующей сил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570681" y="669011"/>
            <a:ext cx="523820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dirty="0"/>
              <a:t>Слипание или блокирование — это одна из наиболее распространённых проблем, с которой приходится сталкиваться производителям плёнок. </a:t>
            </a:r>
            <a:r>
              <a:rPr lang="ru-RU" sz="1100" dirty="0" smtClean="0"/>
              <a:t>Проблему решают </a:t>
            </a:r>
            <a:r>
              <a:rPr lang="ru-RU" sz="1100" b="1" dirty="0" err="1" smtClean="0"/>
              <a:t>антиблокирующие</a:t>
            </a:r>
            <a:r>
              <a:rPr lang="ru-RU" sz="1100" b="1" dirty="0" smtClean="0"/>
              <a:t> добавки</a:t>
            </a:r>
            <a:r>
              <a:rPr lang="ru-RU" sz="1100" dirty="0" smtClean="0"/>
              <a:t>, </a:t>
            </a:r>
            <a:r>
              <a:rPr lang="ru-RU" sz="1100" dirty="0"/>
              <a:t>которые представляют собой органические или неорганические мелкодисперсные материалы, которые создают на поверхности плёнки </a:t>
            </a:r>
            <a:r>
              <a:rPr lang="ru-RU" sz="1100" dirty="0" err="1"/>
              <a:t>микрошероховатости</a:t>
            </a:r>
            <a:r>
              <a:rPr lang="ru-RU" sz="1100" dirty="0"/>
              <a:t>, уменьшающие площадь контакта плёнок и предотвращающие таким образом слипание ориентированной пленки в рулоне. </a:t>
            </a:r>
          </a:p>
          <a:p>
            <a:pPr algn="just"/>
            <a:r>
              <a:rPr lang="ru-RU" sz="1100" dirty="0">
                <a:solidFill>
                  <a:prstClr val="black"/>
                </a:solidFill>
              </a:rPr>
              <a:t>Эффективность их работы оценивается показателем </a:t>
            </a:r>
            <a:r>
              <a:rPr lang="ru-RU" sz="1100" b="1" dirty="0">
                <a:solidFill>
                  <a:prstClr val="black"/>
                </a:solidFill>
              </a:rPr>
              <a:t>«блокирующая сила»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460899" y="605884"/>
            <a:ext cx="3045840" cy="3162750"/>
            <a:chOff x="264285" y="2603486"/>
            <a:chExt cx="1659762" cy="182230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34" t="7627" r="39850"/>
            <a:stretch/>
          </p:blipFill>
          <p:spPr bwMode="auto">
            <a:xfrm>
              <a:off x="264285" y="2838748"/>
              <a:ext cx="1623869" cy="1587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1598095" y="2936130"/>
              <a:ext cx="325952" cy="3341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endParaRPr lang="ru-RU" dirty="0"/>
            </a:p>
          </p:txBody>
        </p:sp>
        <p:sp>
          <p:nvSpPr>
            <p:cNvPr id="8" name="Стрелка вправо 7"/>
            <p:cNvSpPr/>
            <p:nvPr/>
          </p:nvSpPr>
          <p:spPr bwMode="auto">
            <a:xfrm rot="16200000">
              <a:off x="926797" y="2724015"/>
              <a:ext cx="258764" cy="97496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746479" y="2603486"/>
              <a:ext cx="3097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600" b="1" dirty="0"/>
                <a:t>F</a:t>
              </a:r>
              <a:endParaRPr lang="ru-RU" sz="1600" b="1" dirty="0"/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4423485" y="2123499"/>
            <a:ext cx="3807823" cy="1137719"/>
            <a:chOff x="2069850" y="2590910"/>
            <a:chExt cx="5334000" cy="1790700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69850" y="2590910"/>
              <a:ext cx="5334000" cy="1790700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4168854" y="2984478"/>
              <a:ext cx="853722" cy="361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dirty="0" smtClean="0"/>
                <a:t>Пленка</a:t>
              </a:r>
              <a:endParaRPr lang="ru-RU" sz="1100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168853" y="3619207"/>
              <a:ext cx="853722" cy="361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dirty="0" smtClean="0"/>
                <a:t>Пленка</a:t>
              </a:r>
              <a:endParaRPr lang="ru-RU" sz="11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698713" y="3284238"/>
              <a:ext cx="826992" cy="361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dirty="0" smtClean="0"/>
                <a:t>Воздух</a:t>
              </a:r>
              <a:endParaRPr lang="ru-RU" sz="11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292680" y="3284238"/>
              <a:ext cx="826992" cy="36188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dirty="0" smtClean="0"/>
                <a:t>Воздух</a:t>
              </a:r>
              <a:endParaRPr lang="ru-RU" sz="1100" dirty="0"/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262779" y="3836177"/>
            <a:ext cx="4572000" cy="6001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Оптимизация </a:t>
            </a:r>
            <a:r>
              <a:rPr lang="ru-RU" sz="1100" dirty="0"/>
              <a:t>технологических процессов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5110936" y="3145118"/>
            <a:ext cx="2454518" cy="1486049"/>
            <a:chOff x="6238621" y="3287381"/>
            <a:chExt cx="3089179" cy="2409676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74242" y="3287381"/>
              <a:ext cx="2190750" cy="1933575"/>
            </a:xfrm>
            <a:prstGeom prst="rect">
              <a:avLst/>
            </a:prstGeom>
          </p:spPr>
        </p:pic>
        <p:sp>
          <p:nvSpPr>
            <p:cNvPr id="19" name="TextBox 18"/>
            <p:cNvSpPr txBox="1"/>
            <p:nvPr/>
          </p:nvSpPr>
          <p:spPr>
            <a:xfrm>
              <a:off x="6238621" y="5272848"/>
              <a:ext cx="3089179" cy="4242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100" dirty="0" smtClean="0">
                  <a:solidFill>
                    <a:srgbClr val="008C95"/>
                  </a:solidFill>
                </a:rPr>
                <a:t>Поверхность пленки с </a:t>
              </a:r>
              <a:r>
                <a:rPr lang="ru-RU" sz="1100" dirty="0" err="1" smtClean="0">
                  <a:solidFill>
                    <a:srgbClr val="008C95"/>
                  </a:solidFill>
                </a:rPr>
                <a:t>антиблоком</a:t>
              </a:r>
              <a:endParaRPr lang="ru-RU" sz="1100" dirty="0">
                <a:solidFill>
                  <a:srgbClr val="008C95"/>
                </a:solidFill>
              </a:endParaRPr>
            </a:p>
          </p:txBody>
        </p:sp>
      </p:grpSp>
      <p:sp>
        <p:nvSpPr>
          <p:cNvPr id="20" name="Номер слайда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5981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ценка сварных свойств пленок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09125" y="536588"/>
            <a:ext cx="4304092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8721"/>
            <a:r>
              <a:rPr lang="ru-RU" sz="1200" dirty="0" smtClean="0">
                <a:solidFill>
                  <a:prstClr val="black"/>
                </a:solidFill>
              </a:rPr>
              <a:t>1. Начальная </a:t>
            </a:r>
            <a:r>
              <a:rPr lang="ru-RU" sz="1200" dirty="0">
                <a:solidFill>
                  <a:prstClr val="black"/>
                </a:solidFill>
              </a:rPr>
              <a:t>температура сваривания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b="1" dirty="0">
                <a:solidFill>
                  <a:prstClr val="black"/>
                </a:solidFill>
              </a:rPr>
              <a:t>MFT/SIT, </a:t>
            </a:r>
            <a:r>
              <a:rPr lang="en-US" sz="1200" b="1" baseline="30000" dirty="0" err="1">
                <a:solidFill>
                  <a:prstClr val="black"/>
                </a:solidFill>
              </a:rPr>
              <a:t>o</a:t>
            </a:r>
            <a:r>
              <a:rPr lang="en-US" sz="1200" b="1" dirty="0" err="1">
                <a:solidFill>
                  <a:prstClr val="black"/>
                </a:solidFill>
              </a:rPr>
              <a:t>C</a:t>
            </a:r>
            <a:r>
              <a:rPr lang="en-US" sz="1200" dirty="0">
                <a:solidFill>
                  <a:prstClr val="black"/>
                </a:solidFill>
              </a:rPr>
              <a:t>;</a:t>
            </a:r>
            <a:endParaRPr lang="ru-RU" sz="1200" dirty="0">
              <a:solidFill>
                <a:prstClr val="black"/>
              </a:solidFill>
            </a:endParaRPr>
          </a:p>
          <a:p>
            <a:pPr defTabSz="778721"/>
            <a:r>
              <a:rPr lang="en-US" sz="1200" dirty="0">
                <a:solidFill>
                  <a:prstClr val="black"/>
                </a:solidFill>
              </a:rPr>
              <a:t>2</a:t>
            </a:r>
            <a:r>
              <a:rPr lang="ru-RU" sz="1200" dirty="0" smtClean="0">
                <a:solidFill>
                  <a:prstClr val="black"/>
                </a:solidFill>
              </a:rPr>
              <a:t>. Диапазон </a:t>
            </a:r>
            <a:r>
              <a:rPr lang="ru-RU" sz="1200" dirty="0">
                <a:solidFill>
                  <a:prstClr val="black"/>
                </a:solidFill>
              </a:rPr>
              <a:t>температур, при котором происходит хорошее сваривание, </a:t>
            </a:r>
            <a:r>
              <a:rPr lang="en-US" sz="1200" b="1" baseline="30000" dirty="0" err="1" smtClean="0">
                <a:solidFill>
                  <a:prstClr val="black"/>
                </a:solidFill>
              </a:rPr>
              <a:t>o</a:t>
            </a:r>
            <a:r>
              <a:rPr lang="en-US" sz="1200" b="1" dirty="0" err="1" smtClean="0">
                <a:solidFill>
                  <a:prstClr val="black"/>
                </a:solidFill>
              </a:rPr>
              <a:t>C</a:t>
            </a:r>
            <a:r>
              <a:rPr lang="ru-RU" sz="1200" b="1" dirty="0" smtClean="0">
                <a:solidFill>
                  <a:prstClr val="black"/>
                </a:solidFill>
              </a:rPr>
              <a:t>;</a:t>
            </a:r>
          </a:p>
          <a:p>
            <a:pPr defTabSz="778721"/>
            <a:r>
              <a:rPr lang="ru-RU" sz="1200" dirty="0" smtClean="0">
                <a:solidFill>
                  <a:prstClr val="black"/>
                </a:solidFill>
              </a:rPr>
              <a:t>3. Максимальная </a:t>
            </a:r>
            <a:r>
              <a:rPr lang="ru-RU" sz="1200" dirty="0">
                <a:solidFill>
                  <a:prstClr val="black"/>
                </a:solidFill>
              </a:rPr>
              <a:t>сила разрыва горячего сварного </a:t>
            </a:r>
            <a:r>
              <a:rPr lang="en-US" sz="1200" b="1" dirty="0">
                <a:solidFill>
                  <a:prstClr val="black"/>
                </a:solidFill>
              </a:rPr>
              <a:t>F</a:t>
            </a:r>
            <a:r>
              <a:rPr lang="en-US" sz="1200" b="1" baseline="-25000" dirty="0">
                <a:solidFill>
                  <a:prstClr val="black"/>
                </a:solidFill>
              </a:rPr>
              <a:t>HT</a:t>
            </a:r>
            <a:r>
              <a:rPr lang="ru-RU" sz="1200" b="1" baseline="-25000" dirty="0">
                <a:solidFill>
                  <a:prstClr val="black"/>
                </a:solidFill>
              </a:rPr>
              <a:t>, </a:t>
            </a:r>
            <a:r>
              <a:rPr lang="ru-RU" sz="1200" b="1" dirty="0">
                <a:solidFill>
                  <a:prstClr val="black"/>
                </a:solidFill>
              </a:rPr>
              <a:t>Н </a:t>
            </a:r>
            <a:endParaRPr lang="ru-RU" sz="1200" dirty="0">
              <a:solidFill>
                <a:prstClr val="black"/>
              </a:solidFill>
            </a:endParaRPr>
          </a:p>
          <a:p>
            <a:pPr algn="just"/>
            <a:r>
              <a:rPr lang="en-US" sz="1100" dirty="0">
                <a:solidFill>
                  <a:prstClr val="black"/>
                </a:solidFill>
              </a:rPr>
              <a:t>       </a:t>
            </a:r>
            <a:endParaRPr lang="ru-RU" sz="1200" dirty="0"/>
          </a:p>
        </p:txBody>
      </p:sp>
      <p:pic>
        <p:nvPicPr>
          <p:cNvPr id="5" name="Picture 2" descr="C:\Users\AslanyanAS\Desktop\Картинки\31d81dde5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15" b="11136"/>
          <a:stretch/>
        </p:blipFill>
        <p:spPr bwMode="auto">
          <a:xfrm>
            <a:off x="2269455" y="1576194"/>
            <a:ext cx="2454296" cy="1844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AslanyanAS\Desktop\Картинки\t-peel-test_engl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234" y="1576194"/>
            <a:ext cx="1694521" cy="1957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62779" y="3696895"/>
            <a:ext cx="4572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Определение режимов переработки пленки</a:t>
            </a:r>
            <a:endParaRPr lang="ru-RU" sz="1100" dirty="0"/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60454" y="629103"/>
            <a:ext cx="3903768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Описание </a:t>
            </a:r>
            <a:endParaRPr lang="ru-RU" sz="1200" b="1" dirty="0"/>
          </a:p>
          <a:p>
            <a:pPr algn="just"/>
            <a:r>
              <a:rPr lang="ru-RU" sz="1100" dirty="0" smtClean="0">
                <a:solidFill>
                  <a:prstClr val="black"/>
                </a:solidFill>
              </a:rPr>
              <a:t>Сваривают образцы </a:t>
            </a:r>
            <a:r>
              <a:rPr lang="ru-RU" sz="1100" dirty="0">
                <a:solidFill>
                  <a:prstClr val="black"/>
                </a:solidFill>
              </a:rPr>
              <a:t>плёнки при различных температурах с шагом </a:t>
            </a:r>
            <a:r>
              <a:rPr lang="ru-RU" sz="1100" dirty="0" smtClean="0">
                <a:solidFill>
                  <a:prstClr val="black"/>
                </a:solidFill>
              </a:rPr>
              <a:t>5 ⁰</a:t>
            </a:r>
            <a:r>
              <a:rPr lang="ru-RU" sz="1100" dirty="0">
                <a:solidFill>
                  <a:prstClr val="black"/>
                </a:solidFill>
              </a:rPr>
              <a:t>С в диапазоне 90 – 180 ⁰С </a:t>
            </a:r>
          </a:p>
          <a:p>
            <a:pPr algn="just"/>
            <a:r>
              <a:rPr lang="ru-RU" sz="1100" dirty="0">
                <a:solidFill>
                  <a:prstClr val="black"/>
                </a:solidFill>
              </a:rPr>
              <a:t>Испытуемые образцы разрывают на испытательной машине. </a:t>
            </a:r>
            <a:r>
              <a:rPr lang="ru-RU" sz="1100" b="1" dirty="0" smtClean="0">
                <a:solidFill>
                  <a:prstClr val="black"/>
                </a:solidFill>
              </a:rPr>
              <a:t>Первой </a:t>
            </a:r>
            <a:r>
              <a:rPr lang="ru-RU" sz="1100" b="1" dirty="0">
                <a:solidFill>
                  <a:prstClr val="black"/>
                </a:solidFill>
              </a:rPr>
              <a:t>точкой интервала сваривания </a:t>
            </a:r>
            <a:r>
              <a:rPr lang="ru-RU" sz="1100" dirty="0">
                <a:solidFill>
                  <a:prstClr val="black"/>
                </a:solidFill>
              </a:rPr>
              <a:t>является </a:t>
            </a:r>
            <a:r>
              <a:rPr lang="ru-RU" sz="1100" dirty="0" smtClean="0">
                <a:solidFill>
                  <a:prstClr val="black"/>
                </a:solidFill>
              </a:rPr>
              <a:t>температура, при которой шов при растяжении остается целым.</a:t>
            </a:r>
            <a:endParaRPr lang="ru-RU" sz="1100" b="1" dirty="0">
              <a:solidFill>
                <a:prstClr val="black"/>
              </a:solidFill>
            </a:endParaRPr>
          </a:p>
          <a:p>
            <a:pPr algn="just"/>
            <a:r>
              <a:rPr lang="ru-RU" sz="1100" b="1" dirty="0" smtClean="0">
                <a:solidFill>
                  <a:prstClr val="black"/>
                </a:solidFill>
              </a:rPr>
              <a:t>Конечной </a:t>
            </a:r>
            <a:r>
              <a:rPr lang="ru-RU" sz="1100" b="1" dirty="0">
                <a:solidFill>
                  <a:prstClr val="black"/>
                </a:solidFill>
              </a:rPr>
              <a:t>точкой интервала сваривания</a:t>
            </a:r>
            <a:r>
              <a:rPr lang="ru-RU" sz="1100" dirty="0">
                <a:solidFill>
                  <a:prstClr val="black"/>
                </a:solidFill>
              </a:rPr>
              <a:t> является предыдущая температурная точка перед </a:t>
            </a:r>
            <a:r>
              <a:rPr lang="ru-RU" sz="1100" dirty="0" smtClean="0">
                <a:solidFill>
                  <a:prstClr val="black"/>
                </a:solidFill>
              </a:rPr>
              <a:t>расплавлением образца.</a:t>
            </a:r>
          </a:p>
          <a:p>
            <a:pPr algn="just"/>
            <a:endParaRPr lang="ru-RU" sz="1100" dirty="0" smtClean="0">
              <a:solidFill>
                <a:prstClr val="black"/>
              </a:solidFill>
            </a:endParaRPr>
          </a:p>
          <a:p>
            <a:pPr algn="just"/>
            <a:r>
              <a:rPr lang="ru-RU" sz="1100" dirty="0" smtClean="0">
                <a:solidFill>
                  <a:prstClr val="black"/>
                </a:solidFill>
              </a:rPr>
              <a:t>При определении прочности горячего шва </a:t>
            </a:r>
          </a:p>
          <a:p>
            <a:pPr algn="just"/>
            <a:r>
              <a:rPr lang="en-US" sz="1100" b="1" dirty="0" smtClean="0">
                <a:solidFill>
                  <a:prstClr val="black"/>
                </a:solidFill>
              </a:rPr>
              <a:t>FFS</a:t>
            </a:r>
            <a:r>
              <a:rPr lang="ru-RU" sz="1100" b="1" dirty="0" smtClean="0">
                <a:solidFill>
                  <a:prstClr val="black"/>
                </a:solidFill>
              </a:rPr>
              <a:t> </a:t>
            </a:r>
            <a:r>
              <a:rPr lang="en-US" sz="1100" b="1" dirty="0"/>
              <a:t>(Form</a:t>
            </a:r>
            <a:r>
              <a:rPr lang="ru-RU" sz="1100" b="1" dirty="0"/>
              <a:t>-</a:t>
            </a:r>
            <a:r>
              <a:rPr lang="en-US" sz="1100" b="1" dirty="0"/>
              <a:t>Fill</a:t>
            </a:r>
            <a:r>
              <a:rPr lang="ru-RU" sz="1100" b="1" dirty="0"/>
              <a:t>-</a:t>
            </a:r>
            <a:r>
              <a:rPr lang="en-US" sz="1100" b="1" dirty="0"/>
              <a:t>Seal)</a:t>
            </a:r>
            <a:r>
              <a:rPr lang="en-US" sz="1100" b="1" dirty="0">
                <a:solidFill>
                  <a:prstClr val="black"/>
                </a:solidFill>
              </a:rPr>
              <a:t> </a:t>
            </a:r>
            <a:r>
              <a:rPr lang="en-US" sz="1100" dirty="0" smtClean="0">
                <a:solidFill>
                  <a:prstClr val="black"/>
                </a:solidFill>
              </a:rPr>
              <a:t>–</a:t>
            </a:r>
            <a:r>
              <a:rPr lang="ru-RU" sz="1100" dirty="0" smtClean="0">
                <a:solidFill>
                  <a:prstClr val="black"/>
                </a:solidFill>
              </a:rPr>
              <a:t> пленок испытуемые </a:t>
            </a:r>
            <a:r>
              <a:rPr lang="ru-RU" sz="1100" dirty="0">
                <a:solidFill>
                  <a:prstClr val="black"/>
                </a:solidFill>
              </a:rPr>
              <a:t>образцы зажимают в зажимах  </a:t>
            </a:r>
            <a:r>
              <a:rPr lang="ru-RU" sz="1100" dirty="0" err="1">
                <a:solidFill>
                  <a:prstClr val="black"/>
                </a:solidFill>
              </a:rPr>
              <a:t>термосварочной</a:t>
            </a:r>
            <a:r>
              <a:rPr lang="ru-RU" sz="1100" dirty="0">
                <a:solidFill>
                  <a:prstClr val="black"/>
                </a:solidFill>
              </a:rPr>
              <a:t> машины и определяют силу разрыва горячего сварного шва. </a:t>
            </a:r>
            <a:r>
              <a:rPr lang="ru-RU" sz="1100" dirty="0" smtClean="0">
                <a:solidFill>
                  <a:prstClr val="black"/>
                </a:solidFill>
              </a:rPr>
              <a:t>Повторяют с шагом 10 ⁰</a:t>
            </a:r>
            <a:r>
              <a:rPr lang="ru-RU" sz="1100" dirty="0">
                <a:solidFill>
                  <a:prstClr val="black"/>
                </a:solidFill>
              </a:rPr>
              <a:t>С до тех пор, пока не будет достигнута температура, предшествующая температуре </a:t>
            </a:r>
            <a:r>
              <a:rPr lang="ru-RU" sz="1100" dirty="0" smtClean="0">
                <a:solidFill>
                  <a:prstClr val="black"/>
                </a:solidFill>
              </a:rPr>
              <a:t>плавления</a:t>
            </a:r>
            <a:endParaRPr lang="ru-RU" sz="1000" dirty="0" smtClean="0">
              <a:solidFill>
                <a:prstClr val="black"/>
              </a:solidFill>
            </a:endParaRPr>
          </a:p>
          <a:p>
            <a:r>
              <a:rPr lang="ru-RU" sz="1100" dirty="0">
                <a:solidFill>
                  <a:prstClr val="black"/>
                </a:solidFill>
              </a:rPr>
              <a:t>Строят график </a:t>
            </a:r>
            <a:r>
              <a:rPr lang="ru-RU" sz="1100" dirty="0" smtClean="0">
                <a:solidFill>
                  <a:prstClr val="black"/>
                </a:solidFill>
              </a:rPr>
              <a:t>зависимости прочности сварного </a:t>
            </a:r>
            <a:r>
              <a:rPr lang="ru-RU" sz="1100" dirty="0">
                <a:solidFill>
                  <a:prstClr val="black"/>
                </a:solidFill>
              </a:rPr>
              <a:t>шва </a:t>
            </a:r>
            <a:r>
              <a:rPr lang="ru-RU" sz="1100" dirty="0" smtClean="0">
                <a:solidFill>
                  <a:prstClr val="black"/>
                </a:solidFill>
              </a:rPr>
              <a:t>от температуры, из </a:t>
            </a:r>
            <a:r>
              <a:rPr lang="ru-RU" sz="1100" dirty="0">
                <a:solidFill>
                  <a:prstClr val="black"/>
                </a:solidFill>
              </a:rPr>
              <a:t>которого </a:t>
            </a:r>
            <a:r>
              <a:rPr lang="ru-RU" sz="1100" dirty="0" smtClean="0">
                <a:solidFill>
                  <a:prstClr val="black"/>
                </a:solidFill>
              </a:rPr>
              <a:t>определяют оптимальную температуру и силу </a:t>
            </a:r>
            <a:r>
              <a:rPr lang="ru-RU" sz="1100" dirty="0">
                <a:solidFill>
                  <a:prstClr val="black"/>
                </a:solidFill>
              </a:rPr>
              <a:t>разрыва горячего сварного </a:t>
            </a:r>
            <a:r>
              <a:rPr lang="en-US" sz="1100" b="1" dirty="0">
                <a:solidFill>
                  <a:prstClr val="black"/>
                </a:solidFill>
              </a:rPr>
              <a:t>F</a:t>
            </a:r>
            <a:r>
              <a:rPr lang="en-US" sz="1100" b="1" baseline="-25000" dirty="0">
                <a:solidFill>
                  <a:prstClr val="black"/>
                </a:solidFill>
              </a:rPr>
              <a:t>HT</a:t>
            </a:r>
            <a:r>
              <a:rPr lang="ru-RU" sz="1100" b="1" baseline="-25000" dirty="0">
                <a:solidFill>
                  <a:prstClr val="black"/>
                </a:solidFill>
              </a:rPr>
              <a:t>, </a:t>
            </a:r>
            <a:r>
              <a:rPr lang="ru-RU" sz="1100" b="1" dirty="0">
                <a:solidFill>
                  <a:prstClr val="black"/>
                </a:solidFill>
              </a:rPr>
              <a:t>Н</a:t>
            </a:r>
            <a:endParaRPr lang="en-US" sz="1100" dirty="0">
              <a:solidFill>
                <a:prstClr val="black"/>
              </a:solidFill>
            </a:endParaRPr>
          </a:p>
          <a:p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18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ажнейшие эксплуатационные свойства пленок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34795" y="3025774"/>
            <a:ext cx="3906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8C95"/>
                </a:solidFill>
              </a:rPr>
              <a:t>ВОПРОС:</a:t>
            </a:r>
            <a:endParaRPr lang="ru-RU" sz="1600" dirty="0">
              <a:solidFill>
                <a:srgbClr val="008C9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1326" y="3406543"/>
            <a:ext cx="40017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ProximaNova"/>
              </a:rPr>
              <a:t>Какие важные свойства пленок мы </a:t>
            </a:r>
          </a:p>
          <a:p>
            <a:r>
              <a:rPr lang="ru-RU" dirty="0" smtClean="0">
                <a:latin typeface="ProximaNova"/>
              </a:rPr>
              <a:t>еще не рассмотрели?</a:t>
            </a:r>
            <a:endParaRPr lang="ru-RU" dirty="0"/>
          </a:p>
        </p:txBody>
      </p:sp>
      <p:pic>
        <p:nvPicPr>
          <p:cNvPr id="6" name="Picture 14" descr="pac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8742" y="469140"/>
            <a:ext cx="2777454" cy="42454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4" descr="C:\Users\DementevEA\Desktop\76818 (1)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88" y="1239630"/>
            <a:ext cx="1232484" cy="1232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0624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ажнейшие эксплуатационные свойства пленок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41264" y="2959669"/>
            <a:ext cx="39061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8C95"/>
                </a:solidFill>
              </a:rPr>
              <a:t>ОТВЕТ:</a:t>
            </a:r>
            <a:endParaRPr lang="ru-RU" sz="1600" dirty="0">
              <a:solidFill>
                <a:srgbClr val="008C9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4743" y="3372462"/>
            <a:ext cx="3395694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ProximaNova"/>
              </a:rPr>
              <a:t>Барьерные свойства – </a:t>
            </a:r>
            <a:r>
              <a:rPr lang="ru-RU" dirty="0" err="1" smtClean="0">
                <a:latin typeface="ProximaNova"/>
              </a:rPr>
              <a:t>кислородопроницаемость</a:t>
            </a:r>
            <a:r>
              <a:rPr lang="ru-RU" dirty="0" smtClean="0">
                <a:latin typeface="ProximaNova"/>
              </a:rPr>
              <a:t> </a:t>
            </a:r>
          </a:p>
          <a:p>
            <a:r>
              <a:rPr lang="ru-RU" dirty="0" smtClean="0">
                <a:latin typeface="ProximaNova"/>
              </a:rPr>
              <a:t>и </a:t>
            </a:r>
            <a:r>
              <a:rPr lang="ru-RU" dirty="0" err="1" smtClean="0">
                <a:latin typeface="ProximaNova"/>
              </a:rPr>
              <a:t>паропроницаемость</a:t>
            </a:r>
            <a:endParaRPr lang="ru-RU" dirty="0" smtClean="0">
              <a:latin typeface="ProximaNova"/>
            </a:endParaRPr>
          </a:p>
          <a:p>
            <a:endParaRPr lang="ru-RU" dirty="0">
              <a:latin typeface="ProximaNova"/>
            </a:endParaRPr>
          </a:p>
          <a:p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945203" y="733740"/>
            <a:ext cx="5015872" cy="3919124"/>
            <a:chOff x="263525" y="1524000"/>
            <a:chExt cx="8088313" cy="4676775"/>
          </a:xfrm>
        </p:grpSpPr>
        <p:pic>
          <p:nvPicPr>
            <p:cNvPr id="7" name="Picture 14" descr="pack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1801" y="1524000"/>
              <a:ext cx="3319464" cy="4676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6" descr="inert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688" y="2695575"/>
              <a:ext cx="3173412" cy="612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9" descr="moisture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2050" y="5000625"/>
              <a:ext cx="2176463" cy="1001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0" descr="flavour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2125" y="4381500"/>
              <a:ext cx="2779713" cy="773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1" descr="taint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95950" y="5067300"/>
              <a:ext cx="1809750" cy="712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2" name="Group 29"/>
            <p:cNvGrpSpPr>
              <a:grpSpLocks/>
            </p:cNvGrpSpPr>
            <p:nvPr/>
          </p:nvGrpSpPr>
          <p:grpSpPr bwMode="auto">
            <a:xfrm>
              <a:off x="1131888" y="1700213"/>
              <a:ext cx="2476500" cy="955675"/>
              <a:chOff x="713" y="1071"/>
              <a:chExt cx="1560" cy="602"/>
            </a:xfrm>
          </p:grpSpPr>
          <p:pic>
            <p:nvPicPr>
              <p:cNvPr id="25" name="Picture 15" descr="oxygen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1" y="1071"/>
                <a:ext cx="1532" cy="5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ectangle 28"/>
              <p:cNvSpPr>
                <a:spLocks noChangeArrowheads="1"/>
              </p:cNvSpPr>
              <p:nvPr/>
            </p:nvSpPr>
            <p:spPr bwMode="auto">
              <a:xfrm>
                <a:off x="713" y="1445"/>
                <a:ext cx="631" cy="2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odaySB" pitchFamily="2" charset="0"/>
                  </a:defRPr>
                </a:lvl9pPr>
              </a:lstStyle>
              <a:p>
                <a:endParaRPr lang="ru-RU" altLang="ru-RU"/>
              </a:p>
            </p:txBody>
          </p:sp>
        </p:grpSp>
        <p:sp>
          <p:nvSpPr>
            <p:cNvPr id="13" name="Rectangle 30"/>
            <p:cNvSpPr>
              <a:spLocks noChangeArrowheads="1"/>
            </p:cNvSpPr>
            <p:nvPr/>
          </p:nvSpPr>
          <p:spPr bwMode="auto">
            <a:xfrm>
              <a:off x="998538" y="2332038"/>
              <a:ext cx="1047750" cy="24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r>
                <a:rPr lang="pl-PL" altLang="ru-RU" sz="1600" b="1">
                  <a:solidFill>
                    <a:srgbClr val="000099"/>
                  </a:solidFill>
                  <a:latin typeface="Arial" pitchFamily="34" charset="0"/>
                </a:rPr>
                <a:t> </a:t>
              </a:r>
              <a:r>
                <a:rPr lang="ru-RU" altLang="ru-RU" sz="1600" b="1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Кислород</a:t>
              </a:r>
              <a:endParaRPr lang="ru-RU" altLang="ru-RU" sz="1600">
                <a:solidFill>
                  <a:srgbClr val="000099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33"/>
            <p:cNvSpPr>
              <a:spLocks noChangeArrowheads="1"/>
            </p:cNvSpPr>
            <p:nvPr/>
          </p:nvSpPr>
          <p:spPr bwMode="auto">
            <a:xfrm>
              <a:off x="377825" y="2887663"/>
              <a:ext cx="2119313" cy="5238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  <p:sp>
          <p:nvSpPr>
            <p:cNvPr id="15" name="Rectangle 34"/>
            <p:cNvSpPr>
              <a:spLocks noChangeArrowheads="1"/>
            </p:cNvSpPr>
            <p:nvPr/>
          </p:nvSpPr>
          <p:spPr bwMode="auto">
            <a:xfrm>
              <a:off x="263525" y="3022600"/>
              <a:ext cx="2143125" cy="24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r>
                <a:rPr lang="ru-RU" altLang="ru-RU" sz="1600" b="1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Инертная</a:t>
              </a:r>
              <a:r>
                <a:rPr lang="pl-PL" altLang="ru-RU" sz="1600" b="1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altLang="ru-RU" sz="1600" b="1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атмосфера</a:t>
              </a:r>
              <a:endParaRPr lang="ru-RU" altLang="ru-RU" sz="1600" dirty="0">
                <a:solidFill>
                  <a:srgbClr val="000099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36"/>
            <p:cNvSpPr>
              <a:spLocks noChangeArrowheads="1"/>
            </p:cNvSpPr>
            <p:nvPr/>
          </p:nvSpPr>
          <p:spPr bwMode="auto">
            <a:xfrm>
              <a:off x="1001713" y="3454400"/>
              <a:ext cx="1276350" cy="609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  <p:sp>
          <p:nvSpPr>
            <p:cNvPr id="17" name="Rectangle 38"/>
            <p:cNvSpPr>
              <a:spLocks noChangeArrowheads="1"/>
            </p:cNvSpPr>
            <p:nvPr/>
          </p:nvSpPr>
          <p:spPr bwMode="auto">
            <a:xfrm>
              <a:off x="7024688" y="3352800"/>
              <a:ext cx="1204912" cy="8413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  <p:sp>
          <p:nvSpPr>
            <p:cNvPr id="18" name="Rectangle 40"/>
            <p:cNvSpPr>
              <a:spLocks noChangeArrowheads="1"/>
            </p:cNvSpPr>
            <p:nvPr/>
          </p:nvSpPr>
          <p:spPr bwMode="auto">
            <a:xfrm>
              <a:off x="973138" y="5268913"/>
              <a:ext cx="1233487" cy="304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  <p:sp>
          <p:nvSpPr>
            <p:cNvPr id="19" name="Rectangle 41"/>
            <p:cNvSpPr>
              <a:spLocks noChangeArrowheads="1"/>
            </p:cNvSpPr>
            <p:nvPr/>
          </p:nvSpPr>
          <p:spPr bwMode="auto">
            <a:xfrm>
              <a:off x="1062038" y="5268913"/>
              <a:ext cx="1116012" cy="24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r>
                <a:rPr lang="ru-RU" altLang="ru-RU" sz="1600" b="1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Влажность</a:t>
              </a:r>
              <a:endParaRPr lang="ru-RU" altLang="ru-RU" sz="1600">
                <a:solidFill>
                  <a:srgbClr val="000099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42"/>
            <p:cNvSpPr>
              <a:spLocks noChangeArrowheads="1"/>
            </p:cNvSpPr>
            <p:nvPr/>
          </p:nvSpPr>
          <p:spPr bwMode="auto">
            <a:xfrm>
              <a:off x="6357938" y="1654175"/>
              <a:ext cx="1016000" cy="3349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  <p:sp>
          <p:nvSpPr>
            <p:cNvPr id="21" name="Rectangle 43"/>
            <p:cNvSpPr>
              <a:spLocks noChangeArrowheads="1"/>
            </p:cNvSpPr>
            <p:nvPr/>
          </p:nvSpPr>
          <p:spPr bwMode="auto">
            <a:xfrm>
              <a:off x="6396039" y="1682750"/>
              <a:ext cx="115" cy="368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 sz="1600" b="1" dirty="0">
                <a:solidFill>
                  <a:srgbClr val="000099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44"/>
            <p:cNvSpPr>
              <a:spLocks noChangeArrowheads="1"/>
            </p:cNvSpPr>
            <p:nvPr/>
          </p:nvSpPr>
          <p:spPr bwMode="auto">
            <a:xfrm>
              <a:off x="6835775" y="4543425"/>
              <a:ext cx="885825" cy="4492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  <p:sp>
          <p:nvSpPr>
            <p:cNvPr id="23" name="Rectangle 45"/>
            <p:cNvSpPr>
              <a:spLocks noChangeArrowheads="1"/>
            </p:cNvSpPr>
            <p:nvPr/>
          </p:nvSpPr>
          <p:spPr bwMode="auto">
            <a:xfrm>
              <a:off x="6214271" y="4194175"/>
              <a:ext cx="930275" cy="244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r>
                <a:rPr lang="ru-RU" altLang="ru-RU" sz="1600" b="1" dirty="0">
                  <a:solidFill>
                    <a:srgbClr val="000099"/>
                  </a:solidFill>
                  <a:latin typeface="Arial" pitchFamily="34" charset="0"/>
                  <a:cs typeface="Arial" pitchFamily="34" charset="0"/>
                </a:rPr>
                <a:t>Ароматы</a:t>
              </a:r>
            </a:p>
          </p:txBody>
        </p:sp>
        <p:sp>
          <p:nvSpPr>
            <p:cNvPr id="24" name="Rectangle 46"/>
            <p:cNvSpPr>
              <a:spLocks noChangeArrowheads="1"/>
            </p:cNvSpPr>
            <p:nvPr/>
          </p:nvSpPr>
          <p:spPr bwMode="auto">
            <a:xfrm>
              <a:off x="6865938" y="4949825"/>
              <a:ext cx="841375" cy="50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TodaySB" pitchFamily="2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TodaySB" pitchFamily="2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TodaySB" pitchFamily="2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odaySB" pitchFamily="2" charset="0"/>
                </a:defRPr>
              </a:lvl9pPr>
            </a:lstStyle>
            <a:p>
              <a:endParaRPr lang="ru-RU" altLang="ru-RU"/>
            </a:p>
          </p:txBody>
        </p:sp>
      </p:grpSp>
      <p:pic>
        <p:nvPicPr>
          <p:cNvPr id="27" name="Рисунок 2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17" y="1140261"/>
            <a:ext cx="1184564" cy="1184564"/>
          </a:xfrm>
          <a:prstGeom prst="rect">
            <a:avLst/>
          </a:prstGeom>
        </p:spPr>
      </p:pic>
      <p:sp>
        <p:nvSpPr>
          <p:cNvPr id="28" name="Номер слайда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4299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рьерные свойства пленок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749630" y="891947"/>
            <a:ext cx="415656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/>
              <a:t>Полиэтилен и полипропилен не отличаются высокой стойкостью к проникновению </a:t>
            </a:r>
            <a:r>
              <a:rPr lang="ru-RU" sz="1200" dirty="0" smtClean="0"/>
              <a:t>газов</a:t>
            </a:r>
          </a:p>
          <a:p>
            <a:pPr algn="just"/>
            <a:r>
              <a:rPr lang="ru-RU" sz="1200" dirty="0" smtClean="0"/>
              <a:t>Основные способы повышения барьерных свойств пленок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err="1" smtClean="0"/>
              <a:t>соэкструзия</a:t>
            </a:r>
            <a:endParaRPr lang="ru-RU" sz="12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err="1"/>
              <a:t>л</a:t>
            </a:r>
            <a:r>
              <a:rPr lang="ru-RU" sz="1200" dirty="0" err="1" smtClean="0"/>
              <a:t>аминирование</a:t>
            </a:r>
            <a:endParaRPr lang="ru-RU" sz="12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err="1"/>
              <a:t>э</a:t>
            </a:r>
            <a:r>
              <a:rPr lang="ru-RU" sz="1200" dirty="0" err="1" smtClean="0"/>
              <a:t>кструзионное</a:t>
            </a:r>
            <a:r>
              <a:rPr lang="ru-RU" sz="1200" dirty="0" smtClean="0"/>
              <a:t> </a:t>
            </a:r>
            <a:r>
              <a:rPr lang="ru-RU" sz="1200" dirty="0" err="1" smtClean="0"/>
              <a:t>ламинирование</a:t>
            </a:r>
            <a:endParaRPr lang="ru-RU" sz="12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/>
              <a:t>м</a:t>
            </a:r>
            <a:r>
              <a:rPr lang="ru-RU" sz="1200" dirty="0" smtClean="0"/>
              <a:t>еталлизация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dirty="0" err="1" smtClean="0"/>
              <a:t>каширование</a:t>
            </a:r>
            <a:endParaRPr lang="ru-RU" sz="1200" dirty="0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298822" y="3962212"/>
            <a:ext cx="361035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Оптимизация технологических процессов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</p:txBody>
      </p:sp>
      <p:pic>
        <p:nvPicPr>
          <p:cNvPr id="6" name="Picture 2" descr="C:\Users\schapovaea\Documents\Щапова\Работа\Оборудование\Mocon\20180423_17513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40" t="25306" r="12157" b="29274"/>
          <a:stretch/>
        </p:blipFill>
        <p:spPr bwMode="auto">
          <a:xfrm>
            <a:off x="5214405" y="2968655"/>
            <a:ext cx="3547011" cy="1753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8822" y="891947"/>
            <a:ext cx="43040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just" defTabSz="778721">
              <a:buFontTx/>
              <a:buAutoNum type="arabicPeriod"/>
            </a:pPr>
            <a:r>
              <a:rPr lang="ru-RU" sz="1200" dirty="0">
                <a:solidFill>
                  <a:prstClr val="black"/>
                </a:solidFill>
              </a:rPr>
              <a:t>Скорость проникновения кислорода, </a:t>
            </a:r>
            <a:r>
              <a:rPr lang="en-US" sz="1200" dirty="0">
                <a:solidFill>
                  <a:prstClr val="black"/>
                </a:solidFill>
              </a:rPr>
              <a:t>c</a:t>
            </a:r>
            <a:r>
              <a:rPr lang="ru-RU" sz="1200" dirty="0">
                <a:solidFill>
                  <a:prstClr val="black"/>
                </a:solidFill>
              </a:rPr>
              <a:t>м</a:t>
            </a:r>
            <a:r>
              <a:rPr lang="en-US" sz="1200" baseline="30000" dirty="0">
                <a:solidFill>
                  <a:prstClr val="black"/>
                </a:solidFill>
              </a:rPr>
              <a:t>3</a:t>
            </a:r>
            <a:r>
              <a:rPr lang="en-US" sz="1200" dirty="0">
                <a:solidFill>
                  <a:prstClr val="black"/>
                </a:solidFill>
              </a:rPr>
              <a:t>/</a:t>
            </a:r>
            <a:r>
              <a:rPr lang="ru-RU" sz="1200" dirty="0">
                <a:solidFill>
                  <a:prstClr val="black"/>
                </a:solidFill>
              </a:rPr>
              <a:t>м</a:t>
            </a:r>
            <a:r>
              <a:rPr lang="en-US" sz="1200" baseline="30000" dirty="0">
                <a:solidFill>
                  <a:prstClr val="black"/>
                </a:solidFill>
              </a:rPr>
              <a:t>2</a:t>
            </a:r>
            <a:r>
              <a:rPr lang="en-US" sz="1200" dirty="0">
                <a:solidFill>
                  <a:prstClr val="black"/>
                </a:solidFill>
              </a:rPr>
              <a:t>*24</a:t>
            </a:r>
            <a:r>
              <a:rPr lang="ru-RU" sz="1200" dirty="0">
                <a:solidFill>
                  <a:prstClr val="black"/>
                </a:solidFill>
              </a:rPr>
              <a:t>ч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endParaRPr lang="ru-RU" sz="1200" dirty="0">
              <a:solidFill>
                <a:prstClr val="black"/>
              </a:solidFill>
            </a:endParaRPr>
          </a:p>
          <a:p>
            <a:pPr marL="228600" indent="-228600" algn="just" defTabSz="778721">
              <a:buAutoNum type="arabicPeriod"/>
            </a:pPr>
            <a:r>
              <a:rPr lang="ru-RU" sz="1200" dirty="0" smtClean="0">
                <a:solidFill>
                  <a:prstClr val="black"/>
                </a:solidFill>
              </a:rPr>
              <a:t>Скорость проникновения водяного пара,</a:t>
            </a:r>
            <a:r>
              <a:rPr lang="ru-RU" sz="1200" b="1" dirty="0" smtClean="0">
                <a:solidFill>
                  <a:prstClr val="black"/>
                </a:solidFill>
              </a:rPr>
              <a:t> </a:t>
            </a:r>
            <a:r>
              <a:rPr lang="ru-RU" sz="1200" dirty="0">
                <a:solidFill>
                  <a:prstClr val="black"/>
                </a:solidFill>
              </a:rPr>
              <a:t>г</a:t>
            </a:r>
            <a:r>
              <a:rPr lang="en-US" sz="1200" dirty="0">
                <a:solidFill>
                  <a:prstClr val="black"/>
                </a:solidFill>
              </a:rPr>
              <a:t>/</a:t>
            </a:r>
            <a:r>
              <a:rPr lang="ru-RU" sz="1200" dirty="0">
                <a:solidFill>
                  <a:prstClr val="black"/>
                </a:solidFill>
              </a:rPr>
              <a:t>м</a:t>
            </a:r>
            <a:r>
              <a:rPr lang="en-US" sz="1200" baseline="30000" dirty="0">
                <a:solidFill>
                  <a:prstClr val="black"/>
                </a:solidFill>
              </a:rPr>
              <a:t>2</a:t>
            </a:r>
            <a:r>
              <a:rPr lang="en-US" sz="1200" dirty="0">
                <a:solidFill>
                  <a:prstClr val="black"/>
                </a:solidFill>
              </a:rPr>
              <a:t>*24</a:t>
            </a:r>
            <a:r>
              <a:rPr lang="ru-RU" sz="1200" dirty="0">
                <a:solidFill>
                  <a:prstClr val="black"/>
                </a:solidFill>
              </a:rPr>
              <a:t>ч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100" dirty="0" smtClean="0">
                <a:solidFill>
                  <a:prstClr val="black"/>
                </a:solidFill>
              </a:rPr>
              <a:t>      </a:t>
            </a:r>
            <a:endParaRPr lang="ru-RU" sz="12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22" y="1511820"/>
            <a:ext cx="4000500" cy="233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618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дгезионные свойства </a:t>
            </a:r>
            <a:r>
              <a:rPr lang="ru-RU" dirty="0" smtClean="0"/>
              <a:t>пленок</a:t>
            </a:r>
            <a:endParaRPr lang="ru-RU" dirty="0"/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1067" b="22817"/>
          <a:stretch/>
        </p:blipFill>
        <p:spPr bwMode="auto">
          <a:xfrm>
            <a:off x="389428" y="1384667"/>
            <a:ext cx="3601275" cy="1881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336496" y="508972"/>
            <a:ext cx="4572000" cy="127727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/>
              <a:t>З</a:t>
            </a:r>
            <a:r>
              <a:rPr lang="ru-RU" sz="1100" b="1" dirty="0" smtClean="0"/>
              <a:t>начение  </a:t>
            </a:r>
            <a:endParaRPr lang="ru-RU" altLang="ru-RU" sz="1100" dirty="0"/>
          </a:p>
          <a:p>
            <a:pPr algn="just"/>
            <a:r>
              <a:rPr lang="ru-RU" altLang="ru-RU" sz="1100" dirty="0"/>
              <a:t>При воздействии на поверхность пленки коронным разрядом происходит </a:t>
            </a:r>
            <a:r>
              <a:rPr lang="ru-RU" altLang="ru-RU" sz="1100" dirty="0" err="1"/>
              <a:t>гидрофилизация</a:t>
            </a:r>
            <a:r>
              <a:rPr lang="ru-RU" altLang="ru-RU" sz="1100" dirty="0"/>
              <a:t> поверхности и повышение адгезионной способности. </a:t>
            </a:r>
            <a:r>
              <a:rPr lang="ru-RU" sz="1100" dirty="0" smtClean="0"/>
              <a:t>Минимальное натяжение для хорошей адгезии: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smtClean="0"/>
              <a:t>красок </a:t>
            </a:r>
            <a:r>
              <a:rPr lang="ru-RU" sz="1100" dirty="0"/>
              <a:t>на основе </a:t>
            </a:r>
            <a:r>
              <a:rPr lang="ru-RU" sz="1100" dirty="0" smtClean="0"/>
              <a:t>растворителей - 38 дин/см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100" dirty="0" smtClean="0"/>
              <a:t>металла, клеев </a:t>
            </a:r>
            <a:r>
              <a:rPr lang="ru-RU" sz="1100" dirty="0"/>
              <a:t>и водорастворимых красок -</a:t>
            </a:r>
            <a:r>
              <a:rPr lang="ru-RU" sz="1100" dirty="0" smtClean="0"/>
              <a:t> 42 </a:t>
            </a:r>
            <a:r>
              <a:rPr lang="ru-RU" sz="1100" dirty="0"/>
              <a:t>дин/см</a:t>
            </a:r>
            <a:endParaRPr lang="ru-RU" altLang="ru-RU" sz="11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58475" y="508972"/>
            <a:ext cx="291044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/>
              <a:t>Основные способы активирования поверхности: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100" dirty="0"/>
              <a:t>о</a:t>
            </a:r>
            <a:r>
              <a:rPr lang="ru-RU" sz="1100" dirty="0" smtClean="0"/>
              <a:t>бработка коронным разрядом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100" dirty="0"/>
              <a:t>о</a:t>
            </a:r>
            <a:r>
              <a:rPr lang="ru-RU" sz="1100" dirty="0" smtClean="0"/>
              <a:t>бработка пламенем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ru-RU" sz="1100" dirty="0"/>
              <a:t>п</a:t>
            </a:r>
            <a:r>
              <a:rPr lang="ru-RU" sz="1100" dirty="0" smtClean="0"/>
              <a:t>лазменная обработка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491" y="3439318"/>
            <a:ext cx="2753719" cy="793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749491" y="4286717"/>
            <a:ext cx="867881" cy="3993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8721">
              <a:lnSpc>
                <a:spcPct val="95000"/>
              </a:lnSpc>
            </a:pPr>
            <a:r>
              <a:rPr lang="ru-RU" sz="1000" dirty="0" smtClean="0">
                <a:solidFill>
                  <a:prstClr val="black"/>
                </a:solidFill>
              </a:rPr>
              <a:t>После активации</a:t>
            </a:r>
            <a:endParaRPr lang="ru-RU" sz="1000" dirty="0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069124" y="4286413"/>
            <a:ext cx="867881" cy="3993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78721">
              <a:lnSpc>
                <a:spcPct val="95000"/>
              </a:lnSpc>
            </a:pPr>
            <a:r>
              <a:rPr lang="ru-RU" sz="1000" dirty="0" smtClean="0">
                <a:solidFill>
                  <a:prstClr val="black"/>
                </a:solidFill>
              </a:rPr>
              <a:t>До активации</a:t>
            </a:r>
            <a:endParaRPr lang="ru-RU" sz="1000" dirty="0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278179" y="3402013"/>
            <a:ext cx="319479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ctr" defTabSz="778721">
              <a:lnSpc>
                <a:spcPct val="95000"/>
              </a:lnSpc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prstClr val="black"/>
                </a:solidFill>
              </a:rPr>
              <a:t>Чернила для определения поверхностного натяжения</a:t>
            </a:r>
            <a:endParaRPr lang="ru-RU" sz="1000" dirty="0">
              <a:solidFill>
                <a:prstClr val="black"/>
              </a:solidFill>
            </a:endParaRPr>
          </a:p>
        </p:txBody>
      </p:sp>
      <p:pic>
        <p:nvPicPr>
          <p:cNvPr id="11" name="Picture 3" descr="C:\Users\schapovaea\Desktop\к презентахе\i5QKMRPZN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21"/>
          <a:stretch/>
        </p:blipFill>
        <p:spPr bwMode="auto">
          <a:xfrm>
            <a:off x="5179423" y="1980643"/>
            <a:ext cx="1217225" cy="1449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schapovaea\Desktop\к презентахе\arcotest-foto_auto_250_jpg__10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96" y="1980643"/>
            <a:ext cx="1583221" cy="1319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3769648" y="3733164"/>
            <a:ext cx="3610358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Оптимизация технологических процессов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0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StrahovMV\Desktop\3. ПАПКИ\ИНТЕРПЛАСТИКА\ВЕРНИГОРОВ\ФОТО ИНТЕРПЛАСТИКА\04_Depositphotos_2660814_original-small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t="2697" r="140" b="7573"/>
          <a:stretch/>
        </p:blipFill>
        <p:spPr bwMode="auto">
          <a:xfrm>
            <a:off x="1901586" y="1138753"/>
            <a:ext cx="5199821" cy="3106672"/>
          </a:xfrm>
          <a:prstGeom prst="roundRect">
            <a:avLst>
              <a:gd name="adj" fmla="val 3465"/>
            </a:avLst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901586" y="778753"/>
            <a:ext cx="5199821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875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14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752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/>
            <a:r>
              <a:rPr lang="ru-RU" sz="2000" kern="0" dirty="0" smtClean="0"/>
              <a:t>Испытания жёсткой упаковки</a:t>
            </a:r>
            <a:endParaRPr lang="ru-RU" sz="2000" kern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6377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55" r="20216"/>
          <a:stretch/>
        </p:blipFill>
        <p:spPr>
          <a:xfrm>
            <a:off x="6473409" y="770434"/>
            <a:ext cx="2418591" cy="360263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55600" y="1217533"/>
            <a:ext cx="6217809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ность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лавный эксперт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ОО «СИБУР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лилаб»</a:t>
            </a:r>
          </a:p>
          <a:p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сшее образование - РХТУ Д.И. Менделеева 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Химическая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хнология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энергонасыщенных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высокомолекулярны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оединений, порохо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твёрдых ракетны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оплив</a:t>
            </a:r>
          </a:p>
          <a:p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ООО «СИБУР ПолиЛаб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»: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 2017 г.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«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DuPont – Russian Coatings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LLC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: 201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- 2017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г.</a:t>
            </a:r>
          </a:p>
          <a:p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кое описание опыта и достижений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о обращениям потребителей и развитию клиентских сервисов, проведение испытаний труб, жёсткой упаковки и плёнок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8956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троль </a:t>
            </a:r>
            <a:r>
              <a:rPr lang="ru-RU" dirty="0"/>
              <a:t>толщины стенки изделий</a:t>
            </a:r>
          </a:p>
        </p:txBody>
      </p:sp>
      <p:sp>
        <p:nvSpPr>
          <p:cNvPr id="4" name="Объект 10"/>
          <p:cNvSpPr txBox="1">
            <a:spLocks/>
          </p:cNvSpPr>
          <p:nvPr/>
        </p:nvSpPr>
        <p:spPr>
          <a:xfrm>
            <a:off x="235698" y="660215"/>
            <a:ext cx="4259127" cy="124054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dirty="0" smtClean="0"/>
              <a:t>Метод неразрушающего контроля</a:t>
            </a:r>
          </a:p>
          <a:p>
            <a:pPr algn="just" defTabSz="914400"/>
            <a:r>
              <a:rPr lang="ru-RU" sz="1200" kern="0" dirty="0" smtClean="0"/>
              <a:t>Применяют магнитно-индукционный </a:t>
            </a:r>
            <a:r>
              <a:rPr lang="ru-RU" sz="1200" kern="0" dirty="0" err="1" smtClean="0"/>
              <a:t>толщиномер</a:t>
            </a:r>
            <a:r>
              <a:rPr lang="ru-RU" sz="1200" kern="0" dirty="0" smtClean="0"/>
              <a:t>, помещая металлический шарик внутрь изделия. Положение индикатора должно быть перпендикулярно по отношению к измеряемой поверхности. Результаты измерений считывают с дисплея прибора.</a:t>
            </a:r>
            <a:endParaRPr lang="ru-RU" sz="1200" kern="0" dirty="0"/>
          </a:p>
        </p:txBody>
      </p:sp>
      <p:sp>
        <p:nvSpPr>
          <p:cNvPr id="5" name="Объект 11"/>
          <p:cNvSpPr txBox="1">
            <a:spLocks/>
          </p:cNvSpPr>
          <p:nvPr/>
        </p:nvSpPr>
        <p:spPr>
          <a:xfrm>
            <a:off x="4639107" y="660215"/>
            <a:ext cx="4267089" cy="178365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dirty="0" smtClean="0"/>
              <a:t>Метод разрушающего контроля</a:t>
            </a:r>
          </a:p>
          <a:p>
            <a:pPr algn="just" defTabSz="914400"/>
            <a:r>
              <a:rPr lang="ru-RU" sz="1200" kern="0" dirty="0" smtClean="0"/>
              <a:t>Образцы упаковки с помощью ножниц разрезают в вертикальной плоскости  и проводят измерение в точках, установленных в стандартах или технической документации на конкретные виды тары. </a:t>
            </a:r>
          </a:p>
          <a:p>
            <a:pPr algn="just" defTabSz="914400"/>
            <a:endParaRPr lang="ru-RU" sz="800" kern="0" dirty="0" smtClean="0"/>
          </a:p>
          <a:p>
            <a:pPr algn="just" defTabSz="914400"/>
            <a:r>
              <a:rPr lang="ru-RU" sz="1200" kern="0" dirty="0" smtClean="0"/>
              <a:t>За результат измерений принимают наименьшее значение из всех измерений, проведенных в данной точке образцов упаковки.</a:t>
            </a:r>
            <a:endParaRPr lang="ru-RU" sz="1200" kern="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35698" y="3840480"/>
            <a:ext cx="4572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Оценка стабильности сырья</a:t>
            </a:r>
            <a:endParaRPr lang="ru-RU" sz="1100" dirty="0"/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</p:txBody>
      </p:sp>
      <p:pic>
        <p:nvPicPr>
          <p:cNvPr id="7" name="Picture 8" descr="C:\Users\User\Desktop\апрпа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4471" y="2668384"/>
            <a:ext cx="1778831" cy="154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C:\Users\User\Desktop\Безымянный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887" y="1905836"/>
            <a:ext cx="2578991" cy="1934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9" descr="C:\Users\User\Desktop\кеангнгр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880" y="2668384"/>
            <a:ext cx="2060120" cy="154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525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усадки и коробления</a:t>
            </a:r>
          </a:p>
        </p:txBody>
      </p:sp>
      <p:sp>
        <p:nvSpPr>
          <p:cNvPr id="4" name="Объект 10"/>
          <p:cNvSpPr txBox="1">
            <a:spLocks/>
          </p:cNvSpPr>
          <p:nvPr/>
        </p:nvSpPr>
        <p:spPr>
          <a:xfrm>
            <a:off x="263356" y="646713"/>
            <a:ext cx="4259127" cy="334117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smtClean="0"/>
              <a:t>Усадка</a:t>
            </a:r>
            <a:endParaRPr lang="ru-RU" sz="1200" b="1" kern="0" dirty="0"/>
          </a:p>
        </p:txBody>
      </p:sp>
      <p:sp>
        <p:nvSpPr>
          <p:cNvPr id="5" name="Объект 11"/>
          <p:cNvSpPr txBox="1">
            <a:spLocks/>
          </p:cNvSpPr>
          <p:nvPr/>
        </p:nvSpPr>
        <p:spPr>
          <a:xfrm>
            <a:off x="4639107" y="646713"/>
            <a:ext cx="4267089" cy="398693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smtClean="0"/>
              <a:t>Коробление</a:t>
            </a:r>
            <a:endParaRPr lang="ru-RU" sz="1200" b="1" kern="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988743" y="853310"/>
            <a:ext cx="2746821" cy="1956559"/>
            <a:chOff x="3601727" y="2628504"/>
            <a:chExt cx="2077019" cy="1618521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1727" y="2896900"/>
              <a:ext cx="2077019" cy="1073126"/>
            </a:xfrm>
            <a:prstGeom prst="rect">
              <a:avLst/>
            </a:prstGeom>
            <a:noFill/>
            <a:ln w="9525">
              <a:solidFill>
                <a:srgbClr val="008C95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cxnSp>
          <p:nvCxnSpPr>
            <p:cNvPr id="8" name="Прямая со стрелкой 7"/>
            <p:cNvCxnSpPr/>
            <p:nvPr/>
          </p:nvCxnSpPr>
          <p:spPr bwMode="auto">
            <a:xfrm>
              <a:off x="3882788" y="2704036"/>
              <a:ext cx="0" cy="159593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Прямая со стрелкой 8"/>
            <p:cNvCxnSpPr/>
            <p:nvPr/>
          </p:nvCxnSpPr>
          <p:spPr bwMode="auto">
            <a:xfrm flipV="1">
              <a:off x="5550089" y="4031394"/>
              <a:ext cx="0" cy="151551"/>
            </a:xfrm>
            <a:prstGeom prst="straightConnector1">
              <a:avLst/>
            </a:prstGeom>
            <a:solidFill>
              <a:schemeClr val="accent1"/>
            </a:solidFill>
            <a:ln w="19050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" name="Прямоугольник 9"/>
            <p:cNvSpPr/>
            <p:nvPr/>
          </p:nvSpPr>
          <p:spPr>
            <a:xfrm>
              <a:off x="3896434" y="2628504"/>
              <a:ext cx="90757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1200" dirty="0" smtClean="0">
                  <a:solidFill>
                    <a:prstClr val="black"/>
                  </a:solidFill>
                </a:rPr>
                <a:t>ожидание</a:t>
              </a:r>
              <a:endParaRPr lang="ru-RU" sz="1200" dirty="0">
                <a:solidFill>
                  <a:prstClr val="black"/>
                </a:solidFill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4540156" y="3970026"/>
              <a:ext cx="103040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1200" dirty="0" smtClean="0">
                  <a:solidFill>
                    <a:prstClr val="black"/>
                  </a:solidFill>
                </a:rPr>
                <a:t>реальность</a:t>
              </a:r>
              <a:endParaRPr lang="ru-RU" sz="1200" dirty="0">
                <a:solidFill>
                  <a:prstClr val="black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Прямоугольник 11"/>
              <p:cNvSpPr/>
              <p:nvPr/>
            </p:nvSpPr>
            <p:spPr>
              <a:xfrm>
                <a:off x="262366" y="2740203"/>
                <a:ext cx="4061027" cy="127470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100" dirty="0"/>
                  <a:t>Измеряют  размеры матрицы пресс-формы и образца в перпендикулярном и параллельном направлениях формования. </a:t>
                </a:r>
                <a:r>
                  <a:rPr lang="ru-RU" sz="1100" dirty="0" smtClean="0"/>
                  <a:t>Расчет </a:t>
                </a:r>
                <a:r>
                  <a:rPr lang="ru-RU" sz="1100" dirty="0"/>
                  <a:t>усадки </a:t>
                </a:r>
                <a:r>
                  <a:rPr lang="en-US" sz="1100" b="1" dirty="0"/>
                  <a:t>MS, % </a:t>
                </a:r>
                <a:r>
                  <a:rPr lang="ru-RU" sz="1100" dirty="0"/>
                  <a:t>проводят по формуле: </a:t>
                </a:r>
                <a:r>
                  <a:rPr lang="ru-RU" sz="1100" b="1" i="1" dirty="0">
                    <a:latin typeface="Cambria Math"/>
                  </a:rPr>
                  <a:t>                 </a:t>
                </a:r>
                <a:endParaRPr lang="ru-RU" sz="1100" b="1" i="1" dirty="0" smtClean="0">
                  <a:latin typeface="Cambria Math"/>
                </a:endParaRPr>
              </a:p>
              <a:p>
                <a:pPr algn="ctr"/>
                <a:endParaRPr lang="ru-RU" sz="600" b="1" i="1" dirty="0">
                  <a:latin typeface="Cambria Math"/>
                </a:endParaRPr>
              </a:p>
              <a:p>
                <a:pPr algn="ctr"/>
                <a14:m>
                  <m:oMath xmlns:m="http://schemas.openxmlformats.org/officeDocument/2006/math">
                    <m:r>
                      <a:rPr lang="en-US" sz="1100" b="1" i="1">
                        <a:latin typeface="Cambria Math"/>
                      </a:rPr>
                      <m:t>𝐌𝐒</m:t>
                    </m:r>
                    <m:r>
                      <a:rPr lang="en-US" sz="1100" b="1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ru-RU" sz="11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100" b="1" i="1">
                            <a:latin typeface="Cambria Math"/>
                          </a:rPr>
                          <m:t>𝑳</m:t>
                        </m:r>
                        <m:r>
                          <a:rPr lang="en-US" sz="1100" b="1" i="1">
                            <a:latin typeface="Cambria Math"/>
                          </a:rPr>
                          <m:t>𝟎</m:t>
                        </m:r>
                        <m:r>
                          <a:rPr lang="en-US" sz="1100" b="1" i="1">
                            <a:latin typeface="Cambria Math"/>
                          </a:rPr>
                          <m:t>−</m:t>
                        </m:r>
                        <m:r>
                          <a:rPr lang="en-US" sz="1100" b="1" i="1">
                            <a:latin typeface="Cambria Math"/>
                          </a:rPr>
                          <m:t>𝑳</m:t>
                        </m:r>
                        <m:r>
                          <a:rPr lang="en-US" sz="1100" b="1" i="1">
                            <a:latin typeface="Cambria Math"/>
                          </a:rPr>
                          <m:t>𝟏</m:t>
                        </m:r>
                      </m:num>
                      <m:den>
                        <m:r>
                          <a:rPr lang="en-US" sz="1100" b="1" i="1">
                            <a:latin typeface="Cambria Math"/>
                          </a:rPr>
                          <m:t>𝑳</m:t>
                        </m:r>
                        <m:r>
                          <a:rPr lang="en-US" sz="1100" b="1" i="1">
                            <a:latin typeface="Cambria Math"/>
                          </a:rPr>
                          <m:t>𝟏</m:t>
                        </m:r>
                      </m:den>
                    </m:f>
                    <m:r>
                      <a:rPr lang="en-US" sz="1100" b="1" i="1">
                        <a:latin typeface="Cambria Math"/>
                      </a:rPr>
                      <m:t>∗</m:t>
                    </m:r>
                    <m:r>
                      <a:rPr lang="en-US" sz="1100" b="1" i="1">
                        <a:latin typeface="Cambria Math"/>
                      </a:rPr>
                      <m:t>𝟏𝟎𝟎</m:t>
                    </m:r>
                  </m:oMath>
                </a14:m>
                <a:r>
                  <a:rPr lang="ru-RU" sz="1100" dirty="0"/>
                  <a:t>  </a:t>
                </a:r>
                <a:r>
                  <a:rPr lang="ru-RU" sz="800" dirty="0" smtClean="0"/>
                  <a:t>      </a:t>
                </a:r>
                <a:r>
                  <a:rPr lang="ru-RU" sz="1100" dirty="0" smtClean="0"/>
                  <a:t>            </a:t>
                </a:r>
                <a:endParaRPr lang="ru-RU" sz="1100" dirty="0"/>
              </a:p>
              <a:p>
                <a:pPr algn="just"/>
                <a:r>
                  <a:rPr lang="ru-RU" sz="1100" dirty="0"/>
                  <a:t>где L</a:t>
                </a:r>
                <a:r>
                  <a:rPr lang="ru-RU" sz="1100" baseline="-25000" dirty="0"/>
                  <a:t>0</a:t>
                </a:r>
                <a:r>
                  <a:rPr lang="ru-RU" sz="1100" dirty="0"/>
                  <a:t> - размер пресс-формы, мм;</a:t>
                </a:r>
                <a:r>
                  <a:rPr lang="en-US" sz="1100" dirty="0"/>
                  <a:t> </a:t>
                </a:r>
                <a:endParaRPr lang="ru-RU" sz="1100" dirty="0"/>
              </a:p>
              <a:p>
                <a:pPr algn="just"/>
                <a:r>
                  <a:rPr lang="ru-RU" sz="1100" dirty="0"/>
                  <a:t>      </a:t>
                </a:r>
                <a:r>
                  <a:rPr lang="ru-RU" sz="1100" dirty="0" smtClean="0"/>
                  <a:t> L</a:t>
                </a:r>
                <a:r>
                  <a:rPr lang="ru-RU" sz="1100" baseline="-25000" dirty="0" smtClean="0"/>
                  <a:t>1</a:t>
                </a:r>
                <a:r>
                  <a:rPr lang="ru-RU" sz="1100" dirty="0" smtClean="0"/>
                  <a:t> </a:t>
                </a:r>
                <a:r>
                  <a:rPr lang="ru-RU" sz="1100" dirty="0"/>
                  <a:t>- размер образца, мм</a:t>
                </a:r>
                <a:endParaRPr lang="ru-RU" sz="1100" i="1" dirty="0"/>
              </a:p>
            </p:txBody>
          </p:sp>
        </mc:Choice>
        <mc:Fallback xmlns="">
          <p:sp>
            <p:nvSpPr>
              <p:cNvPr id="12" name="Прямоугольник 1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366" y="2740203"/>
                <a:ext cx="4061027" cy="1274708"/>
              </a:xfrm>
              <a:prstGeom prst="rect">
                <a:avLst/>
              </a:prstGeom>
              <a:blipFill>
                <a:blip r:embed="rId3"/>
                <a:stretch>
                  <a:fillRect t="-478" b="-239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3" name="Picture 2" descr="C:\Users\schapovaea\AppData\Local\Microsoft\Windows\Temporary Internet Files\Content.Outlook\0K4QP3LY\shrinkless1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9" t="46" r="2432"/>
          <a:stretch/>
        </p:blipFill>
        <p:spPr bwMode="auto">
          <a:xfrm>
            <a:off x="5212709" y="1010067"/>
            <a:ext cx="2962656" cy="1420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6"/>
          <a:stretch/>
        </p:blipFill>
        <p:spPr>
          <a:xfrm>
            <a:off x="7165546" y="2951547"/>
            <a:ext cx="1571788" cy="128031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Прямоугольник 14"/>
              <p:cNvSpPr/>
              <p:nvPr/>
            </p:nvSpPr>
            <p:spPr>
              <a:xfrm>
                <a:off x="4698992" y="2568337"/>
                <a:ext cx="2881406" cy="8741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ru-RU" sz="1100" dirty="0" smtClean="0"/>
                  <a:t>Коробление </a:t>
                </a:r>
                <a:r>
                  <a:rPr lang="ru-RU" sz="1100" b="1" dirty="0"/>
                  <a:t>В, % </a:t>
                </a:r>
                <a:r>
                  <a:rPr lang="ru-RU" sz="1100" dirty="0"/>
                  <a:t>рассчитывают по формуле: 	</a:t>
                </a:r>
                <a:r>
                  <a:rPr lang="en-US" sz="1100" b="1" dirty="0"/>
                  <a:t>B=</a:t>
                </a:r>
                <a:r>
                  <a:rPr lang="ru-RU" sz="1100" b="1" dirty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1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100" b="1" i="1">
                            <a:latin typeface="Cambria Math"/>
                          </a:rPr>
                          <m:t>   </m:t>
                        </m:r>
                        <m:r>
                          <a:rPr lang="en-US" sz="1100" b="1" i="1">
                            <a:latin typeface="Cambria Math"/>
                          </a:rPr>
                          <m:t>𝑨</m:t>
                        </m:r>
                      </m:num>
                      <m:den>
                        <m:r>
                          <a:rPr lang="en-US" sz="1100" b="1" i="1">
                            <a:latin typeface="Cambria Math"/>
                          </a:rPr>
                          <m:t>𝑬</m:t>
                        </m:r>
                      </m:den>
                    </m:f>
                    <m:r>
                      <a:rPr lang="en-US" sz="1100" b="1">
                        <a:latin typeface="Cambria Math"/>
                      </a:rPr>
                      <m:t>∗</m:t>
                    </m:r>
                    <m:r>
                      <a:rPr lang="en-US" sz="1100" b="1" i="1">
                        <a:latin typeface="Cambria Math"/>
                      </a:rPr>
                      <m:t>𝟏𝟎𝟎</m:t>
                    </m:r>
                    <m:r>
                      <a:rPr lang="ru-RU" sz="1100" b="1" i="1" smtClean="0">
                        <a:latin typeface="Cambria Math" panose="02040503050406030204" pitchFamily="18" charset="0"/>
                      </a:rPr>
                      <m:t>,</m:t>
                    </m:r>
                  </m:oMath>
                </a14:m>
                <a:endParaRPr lang="ru-RU" sz="1100" b="1" dirty="0" smtClean="0"/>
              </a:p>
              <a:p>
                <a:pPr algn="just"/>
                <a:r>
                  <a:rPr lang="ru-RU" sz="1100" dirty="0"/>
                  <a:t>где</a:t>
                </a:r>
                <a:r>
                  <a:rPr lang="ru-RU" sz="1100" b="1" dirty="0"/>
                  <a:t>  </a:t>
                </a:r>
                <a:r>
                  <a:rPr lang="ru-RU" sz="1100" dirty="0"/>
                  <a:t>А — максимальный </a:t>
                </a:r>
                <a:r>
                  <a:rPr lang="ru-RU" sz="1100" dirty="0" smtClean="0"/>
                  <a:t>зазор, мм, </a:t>
                </a:r>
              </a:p>
              <a:p>
                <a:pPr algn="just"/>
                <a:r>
                  <a:rPr lang="ru-RU" sz="1100" dirty="0" smtClean="0"/>
                  <a:t>        </a:t>
                </a:r>
                <a:r>
                  <a:rPr lang="en-US" sz="1100" dirty="0" smtClean="0"/>
                  <a:t>E</a:t>
                </a:r>
                <a:r>
                  <a:rPr lang="ru-RU" sz="1100" dirty="0" smtClean="0"/>
                  <a:t> </a:t>
                </a:r>
                <a:r>
                  <a:rPr lang="ru-RU" sz="1100" dirty="0"/>
                  <a:t>— линейный </a:t>
                </a:r>
                <a:r>
                  <a:rPr lang="ru-RU" sz="1100" dirty="0" smtClean="0"/>
                  <a:t>размер, мм </a:t>
                </a:r>
                <a:endParaRPr lang="ru-RU" sz="1100" dirty="0"/>
              </a:p>
            </p:txBody>
          </p:sp>
        </mc:Choice>
        <mc:Fallback xmlns="">
          <p:sp>
            <p:nvSpPr>
              <p:cNvPr id="15" name="Прямоугольник 1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98992" y="2568337"/>
                <a:ext cx="2881406" cy="874150"/>
              </a:xfrm>
              <a:prstGeom prst="rect">
                <a:avLst/>
              </a:prstGeom>
              <a:blipFill>
                <a:blip r:embed="rId6"/>
                <a:stretch>
                  <a:fillRect t="-69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Прямоугольник 15"/>
          <p:cNvSpPr/>
          <p:nvPr/>
        </p:nvSpPr>
        <p:spPr>
          <a:xfrm>
            <a:off x="2852414" y="3792935"/>
            <a:ext cx="4572000" cy="1107996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Оценка стабильности сырья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</a:t>
            </a:r>
            <a:r>
              <a:rPr lang="ru-RU" sz="1100" dirty="0" smtClean="0"/>
              <a:t>работы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Конструирование пресс-форм</a:t>
            </a:r>
            <a:endParaRPr lang="ru-RU" sz="1100" b="1" dirty="0"/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339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ханическая </a:t>
            </a:r>
            <a:r>
              <a:rPr lang="ru-RU" dirty="0" smtClean="0"/>
              <a:t>прочность: стойкость </a:t>
            </a:r>
            <a:r>
              <a:rPr lang="ru-RU" dirty="0"/>
              <a:t>к вертикальной нагрузке</a:t>
            </a:r>
          </a:p>
        </p:txBody>
      </p:sp>
      <p:pic>
        <p:nvPicPr>
          <p:cNvPr id="4" name="Picture 2" descr="C:\Users\User\Desktop\сжать\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136" y="733740"/>
            <a:ext cx="2346558" cy="3863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battalovaali\Desktop\аипвав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990"/>
          <a:stretch/>
        </p:blipFill>
        <p:spPr bwMode="auto">
          <a:xfrm>
            <a:off x="5978818" y="733740"/>
            <a:ext cx="2451441" cy="2041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battalovaali\Desktop\yjfhn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89"/>
          <a:stretch/>
        </p:blipFill>
        <p:spPr bwMode="auto">
          <a:xfrm>
            <a:off x="3033932" y="2545068"/>
            <a:ext cx="2865704" cy="199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78279" y="890492"/>
            <a:ext cx="272195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 smtClean="0"/>
              <a:t>Описание</a:t>
            </a:r>
            <a:endParaRPr lang="ru-RU" sz="1100" i="1" dirty="0"/>
          </a:p>
          <a:p>
            <a:pPr algn="just"/>
            <a:r>
              <a:rPr lang="ru-RU" sz="1100" dirty="0"/>
              <a:t>Образцы упаковки  устанавливаются вертикально на дно между плитами универсальной испытательной машины, </a:t>
            </a:r>
            <a:r>
              <a:rPr lang="ru-RU" sz="1100" dirty="0" smtClean="0"/>
              <a:t>и сжимают </a:t>
            </a:r>
            <a:r>
              <a:rPr lang="ru-RU" sz="1100" dirty="0"/>
              <a:t>до появления точки перегиба на графике зависимости </a:t>
            </a:r>
            <a:r>
              <a:rPr lang="ru-RU" sz="1100" dirty="0" smtClean="0"/>
              <a:t>нагрузка-деформация</a:t>
            </a:r>
            <a:r>
              <a:rPr lang="ru-RU" sz="1600" dirty="0"/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076442" y="2981396"/>
            <a:ext cx="2624331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Оценка стабильности сырья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</a:t>
            </a:r>
            <a:r>
              <a:rPr lang="ru-RU" sz="1100" dirty="0" smtClean="0"/>
              <a:t>работы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Разработка схемы транспортной упаковки</a:t>
            </a:r>
            <a:endParaRPr lang="ru-RU" sz="1100" b="1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8653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ханическая </a:t>
            </a:r>
            <a:r>
              <a:rPr lang="ru-RU" dirty="0" smtClean="0"/>
              <a:t>прочность: стойкость </a:t>
            </a:r>
            <a:r>
              <a:rPr lang="ru-RU" dirty="0"/>
              <a:t>к удару при свободном падении</a:t>
            </a:r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00" y="805063"/>
            <a:ext cx="1624602" cy="217032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Прямоугольник 4"/>
          <p:cNvSpPr/>
          <p:nvPr/>
        </p:nvSpPr>
        <p:spPr>
          <a:xfrm>
            <a:off x="255600" y="2976396"/>
            <a:ext cx="378193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 smtClean="0"/>
              <a:t>Описание</a:t>
            </a:r>
            <a:endParaRPr lang="ru-RU" sz="1100" b="1" dirty="0"/>
          </a:p>
          <a:p>
            <a:pPr algn="just" defTabSz="778986"/>
            <a:r>
              <a:rPr lang="ru-RU" sz="1100" dirty="0">
                <a:solidFill>
                  <a:prstClr val="black"/>
                </a:solidFill>
              </a:rPr>
              <a:t>Образец</a:t>
            </a:r>
            <a:r>
              <a:rPr lang="en-US" sz="1100" dirty="0">
                <a:solidFill>
                  <a:prstClr val="black"/>
                </a:solidFill>
              </a:rPr>
              <a:t> </a:t>
            </a:r>
            <a:r>
              <a:rPr lang="ru-RU" sz="1100" dirty="0">
                <a:solidFill>
                  <a:prstClr val="black"/>
                </a:solidFill>
              </a:rPr>
              <a:t>изделия заполняют испытательной средой и сбрасывают с  высоты.</a:t>
            </a:r>
          </a:p>
          <a:p>
            <a:pPr algn="just" defTabSz="778986"/>
            <a:r>
              <a:rPr lang="ru-RU" sz="1100" dirty="0">
                <a:solidFill>
                  <a:prstClr val="black"/>
                </a:solidFill>
              </a:rPr>
              <a:t>Выбирают начальную высоту падения (для отсчета 10  образцов с нарушением целостности упаковки)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2473280"/>
              </p:ext>
            </p:extLst>
          </p:nvPr>
        </p:nvGraphicFramePr>
        <p:xfrm>
          <a:off x="4831922" y="832802"/>
          <a:ext cx="3834060" cy="1188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4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2188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7709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6533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7516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7516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68344">
                <a:tc>
                  <a:txBody>
                    <a:bodyPr/>
                    <a:lstStyle/>
                    <a:p>
                      <a:r>
                        <a:rPr lang="en-US" sz="600" dirty="0" smtClean="0"/>
                        <a:t>H</a:t>
                      </a:r>
                      <a:r>
                        <a:rPr lang="ru-RU" sz="600" dirty="0" smtClean="0"/>
                        <a:t>,м</a:t>
                      </a:r>
                      <a:endParaRPr lang="ru-RU" sz="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</a:t>
                      </a:r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2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3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4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5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6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7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8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9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0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1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2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3</a:t>
                      </a:r>
                      <a:endParaRPr lang="ru-RU" sz="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315"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2,0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4315"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,8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4315"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,6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4315"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,4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0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4315"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,2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0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0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х</a:t>
                      </a:r>
                      <a:endParaRPr lang="ru-RU" sz="5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500" dirty="0" smtClean="0"/>
                        <a:t>1,0</a:t>
                      </a:r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>
                        <a:ln>
                          <a:solidFill>
                            <a:srgbClr val="FF0000"/>
                          </a:solidFill>
                        </a:ln>
                      </a:endParaRPr>
                    </a:p>
                  </a:txBody>
                  <a:tcPr>
                    <a:lnR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>
                    <a:lnL w="38100" cap="flat" cmpd="sng" algn="ctr">
                      <a:solidFill>
                        <a:srgbClr val="008C9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7" name="Овал 10"/>
          <p:cNvSpPr>
            <a:spLocks noChangeArrowheads="1"/>
          </p:cNvSpPr>
          <p:nvPr/>
        </p:nvSpPr>
        <p:spPr bwMode="auto">
          <a:xfrm>
            <a:off x="5469777" y="1371772"/>
            <a:ext cx="460086" cy="375370"/>
          </a:xfrm>
          <a:prstGeom prst="ellipse">
            <a:avLst/>
          </a:prstGeom>
          <a:noFill/>
          <a:ln w="38100" algn="ctr">
            <a:solidFill>
              <a:srgbClr val="008C95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ru-RU" altLang="ru-RU" sz="1800">
              <a:solidFill>
                <a:srgbClr val="000000"/>
              </a:solidFill>
            </a:endParaRPr>
          </a:p>
        </p:txBody>
      </p:sp>
      <p:cxnSp>
        <p:nvCxnSpPr>
          <p:cNvPr id="8" name="Прямая со стрелкой 7"/>
          <p:cNvCxnSpPr>
            <a:stCxn id="9" idx="3"/>
            <a:endCxn id="7" idx="2"/>
          </p:cNvCxnSpPr>
          <p:nvPr/>
        </p:nvCxnSpPr>
        <p:spPr bwMode="auto">
          <a:xfrm>
            <a:off x="4629859" y="1477962"/>
            <a:ext cx="839918" cy="81495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rgbClr val="008C95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Прямоугольник 8"/>
          <p:cNvSpPr/>
          <p:nvPr/>
        </p:nvSpPr>
        <p:spPr bwMode="auto">
          <a:xfrm>
            <a:off x="2447296" y="1047672"/>
            <a:ext cx="2182563" cy="860579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just">
              <a:defRPr/>
            </a:pPr>
            <a:r>
              <a:rPr lang="ru-RU" altLang="ru-RU" sz="1000" dirty="0" smtClean="0"/>
              <a:t>Выбор начальной высоты падения: последовательное нарушение  и сохранение  целостности испытуемой упаковки</a:t>
            </a:r>
            <a:endParaRPr lang="ru-RU" altLang="ru-RU" sz="10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Прямоугольник 9"/>
              <p:cNvSpPr/>
              <p:nvPr/>
            </p:nvSpPr>
            <p:spPr>
              <a:xfrm>
                <a:off x="4334196" y="2361416"/>
                <a:ext cx="4572000" cy="2438745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just"/>
                <a:r>
                  <a:rPr lang="ru-RU" sz="1100" dirty="0"/>
                  <a:t>Испытание проводят ступенчатым методом с шагом 20 см. Вычисляют  среднюю высоту падения  50%  образцов с нарушением целостности упаковки, м:</a:t>
                </a:r>
                <a:r>
                  <a:rPr lang="ru-RU" sz="1100" dirty="0">
                    <a:latin typeface="Calibri"/>
                    <a:cs typeface="Times New Roman"/>
                  </a:rPr>
                  <a:t>                   </a:t>
                </a:r>
                <a:endParaRPr lang="ru-RU" sz="1100" dirty="0" smtClean="0">
                  <a:latin typeface="Calibri"/>
                  <a:cs typeface="Times New Roman"/>
                </a:endParaRPr>
              </a:p>
              <a:p>
                <a:pPr algn="ctr"/>
                <a:r>
                  <a:rPr lang="en-US" sz="1100" b="1" dirty="0" smtClean="0"/>
                  <a:t>H</a:t>
                </a:r>
                <a:r>
                  <a:rPr lang="en-US" sz="1100" b="1" baseline="-25000" dirty="0" smtClean="0"/>
                  <a:t>5</a:t>
                </a:r>
                <a:r>
                  <a:rPr lang="ru-RU" sz="1100" b="1" baseline="-25000" dirty="0"/>
                  <a:t>0</a:t>
                </a:r>
                <a:r>
                  <a:rPr lang="ru-RU" sz="1100" b="1" dirty="0"/>
                  <a:t>=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1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100" b="1">
                            <a:latin typeface="Cambria Math"/>
                          </a:rPr>
                          <m:t>∑ </m:t>
                        </m:r>
                        <m:r>
                          <a:rPr lang="en-US" sz="1100" b="1" i="1">
                            <a:latin typeface="Cambria Math"/>
                          </a:rPr>
                          <m:t>𝐇</m:t>
                        </m:r>
                        <m:r>
                          <a:rPr lang="ru-RU" sz="1100" b="1" i="1">
                            <a:latin typeface="Cambria Math"/>
                          </a:rPr>
                          <m:t>∗</m:t>
                        </m:r>
                        <m:r>
                          <a:rPr lang="ru-RU" sz="1100" b="1" i="1">
                            <a:latin typeface="Cambria Math"/>
                          </a:rPr>
                          <m:t>𝒏</m:t>
                        </m:r>
                      </m:num>
                      <m:den>
                        <m:r>
                          <a:rPr lang="en-US" sz="1100" b="1" i="1">
                            <a:latin typeface="Cambria Math"/>
                          </a:rPr>
                          <m:t>𝒏</m:t>
                        </m:r>
                        <m:r>
                          <a:rPr lang="en-US" sz="1100" b="1" i="1">
                            <a:latin typeface="Cambria Math"/>
                          </a:rPr>
                          <m:t>(общ.)</m:t>
                        </m:r>
                      </m:den>
                    </m:f>
                    <m:r>
                      <a:rPr lang="ru-RU" sz="1100" b="1" i="1">
                        <a:latin typeface="Cambria Math"/>
                      </a:rPr>
                      <m:t>,    </m:t>
                    </m:r>
                    <m:r>
                      <a:rPr lang="ru-RU" sz="1100" b="1">
                        <a:latin typeface="Cambria Math"/>
                      </a:rPr>
                      <m:t>                  </m:t>
                    </m:r>
                  </m:oMath>
                </a14:m>
                <a:endParaRPr lang="ru-RU" sz="1100" dirty="0">
                  <a:solidFill>
                    <a:prstClr val="black"/>
                  </a:solidFill>
                </a:endParaRPr>
              </a:p>
              <a:p>
                <a:pPr algn="just"/>
                <a:r>
                  <a:rPr lang="ru-RU" sz="1100" dirty="0">
                    <a:solidFill>
                      <a:prstClr val="black"/>
                    </a:solidFill>
                  </a:rPr>
                  <a:t>где </a:t>
                </a:r>
                <a14:m>
                  <m:oMath xmlns:m="http://schemas.openxmlformats.org/officeDocument/2006/math">
                    <m:r>
                      <a:rPr lang="en-US" sz="1100" b="1" i="1">
                        <a:solidFill>
                          <a:prstClr val="black"/>
                        </a:solidFill>
                        <a:latin typeface="Cambria Math"/>
                      </a:rPr>
                      <m:t>𝐇</m:t>
                    </m:r>
                  </m:oMath>
                </a14:m>
                <a:r>
                  <a:rPr lang="ru-RU" sz="1100" dirty="0">
                    <a:solidFill>
                      <a:prstClr val="black"/>
                    </a:solidFill>
                  </a:rPr>
                  <a:t>-высота падения образца м;</a:t>
                </a:r>
              </a:p>
              <a:p>
                <a:pPr algn="just" defTabSz="778986"/>
                <a:r>
                  <a:rPr lang="ru-RU" sz="1100" dirty="0">
                    <a:solidFill>
                      <a:prstClr val="black"/>
                    </a:solidFill>
                  </a:rPr>
                  <a:t>       </a:t>
                </a:r>
                <a:r>
                  <a:rPr lang="en-US" sz="1100" b="1" dirty="0">
                    <a:solidFill>
                      <a:prstClr val="black"/>
                    </a:solidFill>
                  </a:rPr>
                  <a:t>n</a:t>
                </a:r>
                <a:r>
                  <a:rPr lang="en-US" sz="1100" dirty="0">
                    <a:solidFill>
                      <a:prstClr val="black"/>
                    </a:solidFill>
                  </a:rPr>
                  <a:t>-</a:t>
                </a:r>
                <a:r>
                  <a:rPr lang="ru-RU" sz="1100" dirty="0">
                    <a:solidFill>
                      <a:prstClr val="black"/>
                    </a:solidFill>
                  </a:rPr>
                  <a:t>кол-во результатов при заданной высоте падения;</a:t>
                </a:r>
              </a:p>
              <a:p>
                <a:pPr algn="just" defTabSz="778986">
                  <a:spcAft>
                    <a:spcPts val="1000"/>
                  </a:spcAft>
                </a:pPr>
                <a:r>
                  <a:rPr lang="ru-RU" sz="1100" dirty="0">
                    <a:solidFill>
                      <a:prstClr val="black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1100">
                        <a:solidFill>
                          <a:prstClr val="black"/>
                        </a:solidFill>
                        <a:latin typeface="Cambria Math"/>
                      </a:rPr>
                      <m:t> </m:t>
                    </m:r>
                    <m:r>
                      <a:rPr lang="ru-RU" sz="1100">
                        <a:solidFill>
                          <a:prstClr val="black"/>
                        </a:solidFill>
                        <a:latin typeface="Cambria Math"/>
                      </a:rPr>
                      <m:t>      </m:t>
                    </m:r>
                    <m:r>
                      <a:rPr lang="en-US" sz="1100" b="1" i="1">
                        <a:solidFill>
                          <a:prstClr val="black"/>
                        </a:solidFill>
                        <a:latin typeface="Cambria Math"/>
                      </a:rPr>
                      <m:t>𝐧</m:t>
                    </m:r>
                    <m:d>
                      <m:dPr>
                        <m:ctrlPr>
                          <a:rPr lang="en-US" sz="1100" b="1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1100" b="1">
                            <a:solidFill>
                              <a:prstClr val="black"/>
                            </a:solidFill>
                            <a:latin typeface="Cambria Math"/>
                          </a:rPr>
                          <m:t>общ.</m:t>
                        </m:r>
                      </m:e>
                    </m:d>
                    <m:r>
                      <a:rPr lang="ru-RU" sz="1100" b="1" i="1">
                        <a:solidFill>
                          <a:prstClr val="black"/>
                        </a:solidFill>
                        <a:latin typeface="Cambria Math"/>
                      </a:rPr>
                      <m:t>  </m:t>
                    </m:r>
                  </m:oMath>
                </a14:m>
                <a:r>
                  <a:rPr lang="en-US" sz="1100" dirty="0">
                    <a:solidFill>
                      <a:prstClr val="black"/>
                    </a:solidFill>
                  </a:rPr>
                  <a:t>– </a:t>
                </a:r>
                <a:r>
                  <a:rPr lang="ru-RU" sz="1100" dirty="0">
                    <a:solidFill>
                      <a:prstClr val="black"/>
                    </a:solidFill>
                  </a:rPr>
                  <a:t>общее  кол-во результатов при испытании</a:t>
                </a:r>
                <a:r>
                  <a:rPr lang="ru-RU" sz="1100" dirty="0" smtClean="0">
                    <a:solidFill>
                      <a:prstClr val="black"/>
                    </a:solidFill>
                  </a:rPr>
                  <a:t>.</a:t>
                </a:r>
              </a:p>
              <a:p>
                <a:pPr algn="ctr" defTabSz="778986">
                  <a:spcAft>
                    <a:spcPts val="1000"/>
                  </a:spcAft>
                </a:pPr>
                <a:r>
                  <a:rPr lang="ru-RU" sz="1100" dirty="0"/>
                  <a:t>Энергию разрушения </a:t>
                </a:r>
                <a:r>
                  <a:rPr lang="en-US" sz="1100" dirty="0"/>
                  <a:t> </a:t>
                </a:r>
                <a:r>
                  <a:rPr lang="en-US" sz="1100" b="1" dirty="0"/>
                  <a:t>E</a:t>
                </a:r>
                <a:r>
                  <a:rPr lang="en-US" sz="1100" b="1" baseline="-25000" dirty="0"/>
                  <a:t>50</a:t>
                </a:r>
                <a:r>
                  <a:rPr lang="ru-RU" sz="1100" b="1" baseline="-25000" dirty="0"/>
                  <a:t>,</a:t>
                </a:r>
                <a:r>
                  <a:rPr lang="ru-RU" sz="1100" b="1" dirty="0"/>
                  <a:t> Дж  </a:t>
                </a:r>
                <a:r>
                  <a:rPr lang="ru-RU" sz="1100" dirty="0"/>
                  <a:t>определяют по формуле:  </a:t>
                </a:r>
                <a:endParaRPr lang="ru-RU" sz="1100" dirty="0" smtClean="0"/>
              </a:p>
              <a:p>
                <a:pPr algn="ctr" defTabSz="778986">
                  <a:spcAft>
                    <a:spcPts val="1000"/>
                  </a:spcAft>
                </a:pPr>
                <a:r>
                  <a:rPr lang="ru-RU" sz="1100" dirty="0" smtClean="0"/>
                  <a:t>             </a:t>
                </a:r>
                <a:r>
                  <a:rPr lang="en-US" sz="1100" b="1" dirty="0"/>
                  <a:t>E</a:t>
                </a:r>
                <a:r>
                  <a:rPr lang="en-US" sz="1100" b="1" baseline="-25000" dirty="0"/>
                  <a:t>50 </a:t>
                </a:r>
                <a:r>
                  <a:rPr lang="en-US" sz="1100" b="1" dirty="0"/>
                  <a:t>= M*g*H</a:t>
                </a:r>
                <a:r>
                  <a:rPr lang="en-US" sz="1100" b="1" baseline="-25000" dirty="0"/>
                  <a:t>50</a:t>
                </a:r>
                <a:r>
                  <a:rPr lang="en-US" sz="1100" b="1" dirty="0"/>
                  <a:t>, </a:t>
                </a:r>
                <a:endParaRPr lang="ru-RU" sz="1100" b="1" dirty="0"/>
              </a:p>
              <a:p>
                <a:r>
                  <a:rPr lang="ru-RU" sz="1100" dirty="0"/>
                  <a:t>где </a:t>
                </a:r>
                <a:r>
                  <a:rPr lang="en-US" sz="1100" b="1" dirty="0"/>
                  <a:t>M </a:t>
                </a:r>
                <a:r>
                  <a:rPr lang="en-US" sz="1100" dirty="0"/>
                  <a:t>– </a:t>
                </a:r>
                <a:r>
                  <a:rPr lang="ru-RU" sz="1100" dirty="0"/>
                  <a:t>масса образца (с заполняемой средой), г</a:t>
                </a:r>
                <a:r>
                  <a:rPr lang="en-US" sz="1100" dirty="0"/>
                  <a:t>;</a:t>
                </a:r>
                <a:endParaRPr lang="ru-RU" sz="1100" dirty="0"/>
              </a:p>
              <a:p>
                <a:r>
                  <a:rPr lang="ru-RU" sz="1100" dirty="0"/>
                  <a:t>       </a:t>
                </a:r>
                <a:r>
                  <a:rPr lang="en-US" sz="1100" b="1" dirty="0"/>
                  <a:t>g</a:t>
                </a:r>
                <a:r>
                  <a:rPr lang="en-US" sz="1100" dirty="0"/>
                  <a:t> – </a:t>
                </a:r>
                <a:r>
                  <a:rPr lang="ru-RU" sz="1100" dirty="0"/>
                  <a:t>ускорение свободного падения, </a:t>
                </a:r>
                <a:r>
                  <a:rPr lang="ru-RU" sz="1100" dirty="0" smtClean="0"/>
                  <a:t>м/с</a:t>
                </a:r>
                <a:r>
                  <a:rPr lang="ru-RU" sz="1100" baseline="30000" dirty="0" smtClean="0"/>
                  <a:t>2</a:t>
                </a:r>
                <a:endParaRPr lang="ru-RU" sz="1200" dirty="0">
                  <a:solidFill>
                    <a:prstClr val="black"/>
                  </a:solidFill>
                </a:endParaRPr>
              </a:p>
            </p:txBody>
          </p:sp>
        </mc:Choice>
        <mc:Fallback xmlns="">
          <p:sp>
            <p:nvSpPr>
              <p:cNvPr id="10" name="Прямоугольник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4196" y="2361416"/>
                <a:ext cx="4572000" cy="2438745"/>
              </a:xfrm>
              <a:prstGeom prst="rect">
                <a:avLst/>
              </a:prstGeom>
              <a:blipFill>
                <a:blip r:embed="rId3"/>
                <a:stretch>
                  <a:fillRect t="-250" b="-75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Прямоугольник 10"/>
          <p:cNvSpPr/>
          <p:nvPr/>
        </p:nvSpPr>
        <p:spPr>
          <a:xfrm>
            <a:off x="255600" y="3899881"/>
            <a:ext cx="4572000" cy="938719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Оценка стабильности сырья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Исследовательские работы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0514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901586" y="778753"/>
            <a:ext cx="5119745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7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37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875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14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752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/>
            <a:r>
              <a:rPr lang="ru-RU" sz="2000" kern="0" dirty="0" smtClean="0"/>
              <a:t>Испытания труб</a:t>
            </a:r>
            <a:endParaRPr lang="ru-RU" sz="2000" kern="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1981661" y="1138753"/>
            <a:ext cx="5039670" cy="3010989"/>
            <a:chOff x="1981661" y="1138753"/>
            <a:chExt cx="5039670" cy="3010989"/>
          </a:xfrm>
        </p:grpSpPr>
        <p:pic>
          <p:nvPicPr>
            <p:cNvPr id="4" name="Picture 7" descr="C:\Users\AslanyanAS\Desktop\Картинки\Pipe_2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9" t="12630" b="4605"/>
            <a:stretch/>
          </p:blipFill>
          <p:spPr bwMode="auto">
            <a:xfrm>
              <a:off x="1981661" y="1138753"/>
              <a:ext cx="5039670" cy="3010989"/>
            </a:xfrm>
            <a:prstGeom prst="roundRect">
              <a:avLst>
                <a:gd name="adj" fmla="val 4162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Прямоугольник 5"/>
            <p:cNvSpPr/>
            <p:nvPr/>
          </p:nvSpPr>
          <p:spPr bwMode="auto">
            <a:xfrm>
              <a:off x="2425485" y="1952787"/>
              <a:ext cx="689675" cy="278969"/>
            </a:xfrm>
            <a:prstGeom prst="roundRect">
              <a:avLst/>
            </a:prstGeom>
            <a:solidFill>
              <a:srgbClr val="A9B6B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 bwMode="auto">
            <a:xfrm>
              <a:off x="2159430" y="3120326"/>
              <a:ext cx="689675" cy="278969"/>
            </a:xfrm>
            <a:prstGeom prst="roundRect">
              <a:avLst/>
            </a:prstGeom>
            <a:solidFill>
              <a:srgbClr val="A5B0B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4152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стойкости труб к внутреннему давлению</a:t>
            </a:r>
          </a:p>
        </p:txBody>
      </p:sp>
      <p:pic>
        <p:nvPicPr>
          <p:cNvPr id="4" name="Picture 4" descr="C:\Users\AslanyanAS\Desktop\Картинки\1751-1760_visual_zoom-1_0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44" b="3456"/>
          <a:stretch/>
        </p:blipFill>
        <p:spPr bwMode="auto">
          <a:xfrm>
            <a:off x="492433" y="867060"/>
            <a:ext cx="2051720" cy="1976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29008" y="3282400"/>
            <a:ext cx="344408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38643"/>
            <a:r>
              <a:rPr lang="ru-RU" sz="1100" b="1" dirty="0" smtClean="0">
                <a:solidFill>
                  <a:prstClr val="black"/>
                </a:solidFill>
              </a:rPr>
              <a:t>Описание</a:t>
            </a:r>
            <a:endParaRPr lang="ru-RU" sz="1100" b="1" dirty="0">
              <a:solidFill>
                <a:prstClr val="black"/>
              </a:solidFill>
            </a:endParaRPr>
          </a:p>
          <a:p>
            <a:pPr algn="just" defTabSz="1038643"/>
            <a:r>
              <a:rPr lang="ru-RU" sz="1100" dirty="0">
                <a:solidFill>
                  <a:prstClr val="black"/>
                </a:solidFill>
              </a:rPr>
              <a:t>Подготовленные </a:t>
            </a:r>
            <a:r>
              <a:rPr lang="ru-RU" sz="1100" dirty="0" smtClean="0">
                <a:solidFill>
                  <a:prstClr val="black"/>
                </a:solidFill>
              </a:rPr>
              <a:t>образцы труб </a:t>
            </a:r>
            <a:r>
              <a:rPr lang="ru-RU" sz="1100" dirty="0">
                <a:solidFill>
                  <a:prstClr val="black"/>
                </a:solidFill>
              </a:rPr>
              <a:t>заполняют водой, подключают к системе обеспечения давлением и помещают в испытательную ванну или испытательный шкаф, в зависимости от выбранной </a:t>
            </a:r>
            <a:r>
              <a:rPr lang="ru-RU" sz="1100" dirty="0" smtClean="0">
                <a:solidFill>
                  <a:prstClr val="black"/>
                </a:solidFill>
              </a:rPr>
              <a:t>среды. Испытание </a:t>
            </a:r>
            <a:r>
              <a:rPr lang="ru-RU" sz="1100" dirty="0">
                <a:solidFill>
                  <a:prstClr val="black"/>
                </a:solidFill>
              </a:rPr>
              <a:t>прекращают по достижении заданного времени, либо до разрушения или протечки образца.</a:t>
            </a:r>
            <a:endParaRPr lang="en-US" sz="1100"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819" b="19208"/>
          <a:stretch/>
        </p:blipFill>
        <p:spPr bwMode="auto">
          <a:xfrm rot="5400000">
            <a:off x="6733613" y="1448926"/>
            <a:ext cx="2345582" cy="915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753041" y="3079322"/>
            <a:ext cx="213139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643"/>
            <a:r>
              <a:rPr lang="ru-RU" sz="1100" dirty="0" smtClean="0">
                <a:solidFill>
                  <a:prstClr val="black"/>
                </a:solidFill>
              </a:rPr>
              <a:t>Пластическое разрушение («клюв попугая»)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188586" y="3079322"/>
            <a:ext cx="154728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38643"/>
            <a:r>
              <a:rPr lang="ru-RU" sz="1100" dirty="0" smtClean="0">
                <a:solidFill>
                  <a:prstClr val="black"/>
                </a:solidFill>
              </a:rPr>
              <a:t>Хрупкое разрушение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441387" y="3549719"/>
            <a:ext cx="4175249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стабильности процесса производства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Оценка стабильности сырья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</a:t>
            </a:r>
            <a:r>
              <a:rPr lang="ru-RU" sz="1100" dirty="0" smtClean="0"/>
              <a:t>работы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Сертификация готовых труб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Сертификация трубных марок полимеров</a:t>
            </a:r>
            <a:endParaRPr lang="ru-RU" sz="1100" b="1" dirty="0"/>
          </a:p>
        </p:txBody>
      </p:sp>
      <p:pic>
        <p:nvPicPr>
          <p:cNvPr id="10" name="Picture 2" descr="C:\Users\schapovaea\Desktop\IPT\IMG-20180830-WA0016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67" r="14480" b="5423"/>
          <a:stretch/>
        </p:blipFill>
        <p:spPr bwMode="auto">
          <a:xfrm>
            <a:off x="329008" y="734615"/>
            <a:ext cx="3444086" cy="2353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17967" b="14976"/>
          <a:stretch/>
        </p:blipFill>
        <p:spPr>
          <a:xfrm rot="5400000">
            <a:off x="4626277" y="1308419"/>
            <a:ext cx="2340024" cy="1201783"/>
          </a:xfrm>
          <a:prstGeom prst="rect">
            <a:avLst/>
          </a:prstGeom>
        </p:spPr>
      </p:pic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1958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чет минимальной гидростатической прочности  (</a:t>
            </a:r>
            <a:r>
              <a:rPr lang="en-US" dirty="0"/>
              <a:t>MRS)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79"/>
          <a:stretch/>
        </p:blipFill>
        <p:spPr>
          <a:xfrm>
            <a:off x="174974" y="1160891"/>
            <a:ext cx="5551706" cy="374004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74974" y="820117"/>
            <a:ext cx="25971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/>
            <a:r>
              <a:rPr lang="en-US" sz="1200" b="1" dirty="0" smtClean="0"/>
              <a:t>MRS – minimal required strength</a:t>
            </a:r>
            <a:endParaRPr lang="ru-RU" sz="1200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788827" y="714895"/>
            <a:ext cx="3094012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43"/>
            <a:r>
              <a:rPr lang="ru-RU" sz="1050" b="1" dirty="0">
                <a:solidFill>
                  <a:prstClr val="black"/>
                </a:solidFill>
              </a:rPr>
              <a:t>Расчет</a:t>
            </a:r>
          </a:p>
          <a:p>
            <a:pPr defTabSz="1038643"/>
            <a:r>
              <a:rPr lang="ru-RU" sz="1050" dirty="0">
                <a:solidFill>
                  <a:prstClr val="black"/>
                </a:solidFill>
              </a:rPr>
              <a:t>В зависимости от испытания выбирается модель с различным набором параметров, в общем виде расчет происходит по следующей формуле:</a:t>
            </a:r>
          </a:p>
          <a:p>
            <a:pPr defTabSz="1038643"/>
            <a:endParaRPr lang="ru-RU" sz="1050" dirty="0">
              <a:solidFill>
                <a:prstClr val="black"/>
              </a:solidFill>
            </a:endParaRPr>
          </a:p>
          <a:p>
            <a:pPr defTabSz="1038643"/>
            <a:endParaRPr lang="ru-RU" sz="1050" dirty="0">
              <a:solidFill>
                <a:prstClr val="black"/>
              </a:solidFill>
            </a:endParaRPr>
          </a:p>
          <a:p>
            <a:pPr defTabSz="1038643"/>
            <a:r>
              <a:rPr lang="ru-RU" sz="1050" dirty="0" smtClean="0">
                <a:solidFill>
                  <a:prstClr val="black"/>
                </a:solidFill>
              </a:rPr>
              <a:t>где</a:t>
            </a:r>
            <a:r>
              <a:rPr lang="ru-RU" sz="1050" dirty="0">
                <a:solidFill>
                  <a:prstClr val="black"/>
                </a:solidFill>
              </a:rPr>
              <a:t>: </a:t>
            </a:r>
          </a:p>
          <a:p>
            <a:pPr defTabSz="1038643"/>
            <a:r>
              <a:rPr lang="ru-RU" sz="1050" dirty="0">
                <a:solidFill>
                  <a:prstClr val="black"/>
                </a:solidFill>
              </a:rPr>
              <a:t> </a:t>
            </a:r>
            <a:r>
              <a:rPr lang="en-US" sz="1050" dirty="0">
                <a:solidFill>
                  <a:prstClr val="black"/>
                </a:solidFill>
              </a:rPr>
              <a:t>t </a:t>
            </a:r>
            <a:r>
              <a:rPr lang="ru-RU" sz="1050" dirty="0">
                <a:solidFill>
                  <a:prstClr val="black"/>
                </a:solidFill>
              </a:rPr>
              <a:t>-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  <a:r>
              <a:rPr lang="ru-RU" sz="1050" dirty="0">
                <a:solidFill>
                  <a:prstClr val="black"/>
                </a:solidFill>
              </a:rPr>
              <a:t>время проведения испытания, ч</a:t>
            </a:r>
            <a:r>
              <a:rPr lang="en-US" sz="1050" dirty="0">
                <a:solidFill>
                  <a:prstClr val="black"/>
                </a:solidFill>
              </a:rPr>
              <a:t>;</a:t>
            </a:r>
            <a:endParaRPr lang="ru-RU" sz="1050" dirty="0">
              <a:solidFill>
                <a:prstClr val="black"/>
              </a:solidFill>
            </a:endParaRPr>
          </a:p>
          <a:p>
            <a:pPr defTabSz="1038643"/>
            <a:r>
              <a:rPr lang="ru-RU" sz="1050" dirty="0">
                <a:solidFill>
                  <a:prstClr val="black"/>
                </a:solidFill>
              </a:rPr>
              <a:t> σ -  кольцевое напряжение в испытуемом образце, МПа</a:t>
            </a:r>
            <a:r>
              <a:rPr lang="en-US" sz="1050" dirty="0">
                <a:solidFill>
                  <a:prstClr val="black"/>
                </a:solidFill>
              </a:rPr>
              <a:t>;</a:t>
            </a:r>
            <a:endParaRPr lang="ru-RU" sz="1050" dirty="0">
              <a:solidFill>
                <a:prstClr val="black"/>
              </a:solidFill>
            </a:endParaRPr>
          </a:p>
          <a:p>
            <a:pPr defTabSz="1038643"/>
            <a:r>
              <a:rPr lang="ru-RU" sz="1050" dirty="0">
                <a:solidFill>
                  <a:prstClr val="black"/>
                </a:solidFill>
              </a:rPr>
              <a:t> с</a:t>
            </a:r>
            <a:r>
              <a:rPr lang="ru-RU" sz="1050" baseline="-25000" dirty="0">
                <a:solidFill>
                  <a:prstClr val="black"/>
                </a:solidFill>
              </a:rPr>
              <a:t>1</a:t>
            </a:r>
            <a:r>
              <a:rPr lang="ru-RU" sz="1050" dirty="0">
                <a:solidFill>
                  <a:prstClr val="black"/>
                </a:solidFill>
              </a:rPr>
              <a:t>-с</a:t>
            </a:r>
            <a:r>
              <a:rPr lang="ru-RU" sz="1050" baseline="-25000" dirty="0">
                <a:solidFill>
                  <a:prstClr val="black"/>
                </a:solidFill>
              </a:rPr>
              <a:t>4</a:t>
            </a:r>
            <a:r>
              <a:rPr lang="ru-RU" sz="1050" dirty="0">
                <a:solidFill>
                  <a:prstClr val="black"/>
                </a:solidFill>
              </a:rPr>
              <a:t> - коэффициенты определяемые по результатам </a:t>
            </a:r>
            <a:r>
              <a:rPr lang="ru-RU" sz="1050" dirty="0" smtClean="0">
                <a:solidFill>
                  <a:prstClr val="black"/>
                </a:solidFill>
              </a:rPr>
              <a:t>испытаний; </a:t>
            </a:r>
            <a:endParaRPr lang="ru-RU" sz="1050" dirty="0">
              <a:solidFill>
                <a:prstClr val="black"/>
              </a:solidFill>
            </a:endParaRPr>
          </a:p>
          <a:p>
            <a:pPr defTabSz="1038643"/>
            <a:r>
              <a:rPr lang="ru-RU" sz="1050" dirty="0">
                <a:solidFill>
                  <a:prstClr val="black"/>
                </a:solidFill>
              </a:rPr>
              <a:t> е – ошибка переменно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88827" y="3107996"/>
            <a:ext cx="3237422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43"/>
            <a:r>
              <a:rPr lang="ru-RU" sz="1050" b="1" dirty="0"/>
              <a:t>Необходимые условия для получения результата</a:t>
            </a:r>
          </a:p>
          <a:p>
            <a:pPr algn="just"/>
            <a:r>
              <a:rPr lang="ru-RU" sz="105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   </a:t>
            </a:r>
            <a:r>
              <a:rPr lang="ru-RU" sz="1050" dirty="0"/>
              <a:t>Минимум 30 испытаний при одной температуре</a:t>
            </a:r>
            <a:endParaRPr lang="en-US" sz="1050" dirty="0"/>
          </a:p>
          <a:p>
            <a:pPr algn="just"/>
            <a:r>
              <a:rPr lang="ru-RU" sz="105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   </a:t>
            </a:r>
            <a:r>
              <a:rPr lang="ru-RU" sz="1050" dirty="0">
                <a:sym typeface="Wingdings"/>
              </a:rPr>
              <a:t>4 образца с временем разрушения более 7000 часов</a:t>
            </a:r>
            <a:endParaRPr lang="ru-RU" sz="1050" dirty="0">
              <a:solidFill>
                <a:srgbClr val="FF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</a:t>
            </a:r>
            <a:r>
              <a:rPr lang="ru-RU" sz="1050" dirty="0">
                <a:sym typeface="Wingdings"/>
              </a:rPr>
              <a:t>1 образец с временем разрушения более 9000 часов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050" dirty="0">
                <a:solidFill>
                  <a:srgbClr val="008C95">
                    <a:lumMod val="75000"/>
                  </a:srgbClr>
                </a:solidFill>
                <a:sym typeface="Wingdings"/>
              </a:rPr>
              <a:t> </a:t>
            </a:r>
            <a:r>
              <a:rPr lang="ru-RU" sz="1050" dirty="0">
                <a:sym typeface="Wingdings"/>
              </a:rPr>
              <a:t>Данные должны быть получены при 2-х температурах</a:t>
            </a:r>
            <a:endParaRPr lang="ru-RU" sz="1050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0169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стойкости труб к быстрому распространению трещин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568014" y="2126181"/>
            <a:ext cx="2122717" cy="2609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21562" y="1017463"/>
            <a:ext cx="433385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38643"/>
            <a:r>
              <a:rPr lang="ru-RU" sz="1200" b="1" dirty="0" smtClean="0">
                <a:solidFill>
                  <a:prstClr val="black"/>
                </a:solidFill>
              </a:rPr>
              <a:t>Описание</a:t>
            </a:r>
            <a:endParaRPr lang="ru-RU" sz="1200" b="1" dirty="0">
              <a:solidFill>
                <a:prstClr val="black"/>
              </a:solidFill>
            </a:endParaRPr>
          </a:p>
          <a:p>
            <a:pPr algn="just" defTabSz="1038643"/>
            <a:r>
              <a:rPr lang="ru-RU" sz="1100" dirty="0">
                <a:solidFill>
                  <a:prstClr val="black"/>
                </a:solidFill>
              </a:rPr>
              <a:t>В трубе, нагруженной постоянным внутренним давлением</a:t>
            </a:r>
            <a:r>
              <a:rPr lang="en-US" sz="1100" dirty="0">
                <a:solidFill>
                  <a:prstClr val="black"/>
                </a:solidFill>
              </a:rPr>
              <a:t> </a:t>
            </a:r>
            <a:r>
              <a:rPr lang="ru-RU" sz="1100" dirty="0"/>
              <a:t>газа</a:t>
            </a:r>
            <a:r>
              <a:rPr lang="ru-RU" sz="1100" dirty="0">
                <a:solidFill>
                  <a:prstClr val="black"/>
                </a:solidFill>
              </a:rPr>
              <a:t>, исследуется длина самопроизвольного распространения трещины, искусственно инициированной бойком определенных </a:t>
            </a:r>
            <a:r>
              <a:rPr lang="ru-RU" sz="1100" dirty="0" smtClean="0">
                <a:solidFill>
                  <a:prstClr val="black"/>
                </a:solidFill>
              </a:rPr>
              <a:t>размеров. Метод </a:t>
            </a:r>
            <a:r>
              <a:rPr lang="ru-RU" sz="1100" dirty="0">
                <a:solidFill>
                  <a:prstClr val="black"/>
                </a:solidFill>
              </a:rPr>
              <a:t>позволяет оценить прочность труб при высоких скоростях деформации и низких температурах</a:t>
            </a:r>
            <a:r>
              <a:rPr lang="ru-RU" sz="1100" dirty="0" smtClean="0">
                <a:solidFill>
                  <a:prstClr val="black"/>
                </a:solidFill>
              </a:rPr>
              <a:t>.</a:t>
            </a:r>
          </a:p>
          <a:p>
            <a:pPr algn="just" defTabSz="1038643"/>
            <a:r>
              <a:rPr lang="ru-RU" sz="1100" dirty="0">
                <a:solidFill>
                  <a:prstClr val="black"/>
                </a:solidFill>
              </a:rPr>
              <a:t>После </a:t>
            </a:r>
            <a:r>
              <a:rPr lang="ru-RU" sz="1100" dirty="0" smtClean="0">
                <a:solidFill>
                  <a:prstClr val="black"/>
                </a:solidFill>
              </a:rPr>
              <a:t>кондиционирования при 0 градусов </a:t>
            </a:r>
            <a:r>
              <a:rPr lang="ru-RU" sz="1100" dirty="0">
                <a:solidFill>
                  <a:prstClr val="black"/>
                </a:solidFill>
              </a:rPr>
              <a:t>образец помещают в прибор БРТ и проводят тест. </a:t>
            </a:r>
            <a:r>
              <a:rPr lang="ru-RU" sz="1100" dirty="0" smtClean="0"/>
              <a:t>После </a:t>
            </a:r>
            <a:r>
              <a:rPr lang="ru-RU" sz="1100" dirty="0"/>
              <a:t>выполнения испытания измеряют длину трещины. Если распространение трещины при заданном давлении происходит на расстояние менее чем </a:t>
            </a:r>
            <a:r>
              <a:rPr lang="en-US" sz="1100" dirty="0"/>
              <a:t>4,7</a:t>
            </a:r>
            <a:r>
              <a:rPr lang="ru-RU" sz="1100" dirty="0"/>
              <a:t> номинальных диаметра, то следующее испытание проводят при повышенном давлении.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1562" y="3560660"/>
            <a:ext cx="445291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Исследовательские работы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Сертификация труб, применяемых для транспортировки газообразных сред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Сертификация трубных марок полимеров</a:t>
            </a:r>
            <a:endParaRPr lang="ru-RU" sz="11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34" b="14528"/>
          <a:stretch/>
        </p:blipFill>
        <p:spPr>
          <a:xfrm rot="10800000">
            <a:off x="6568015" y="899022"/>
            <a:ext cx="2122717" cy="97971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" t="27804" b="22768"/>
          <a:stretch/>
        </p:blipFill>
        <p:spPr>
          <a:xfrm rot="5400000">
            <a:off x="3605562" y="2097493"/>
            <a:ext cx="3836623" cy="1439683"/>
          </a:xfrm>
          <a:prstGeom prst="rect">
            <a:avLst/>
          </a:prstGeom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6353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Определение изменения длины трубы после </a:t>
            </a:r>
            <a:r>
              <a:rPr lang="ru-RU" dirty="0" smtClean="0"/>
              <a:t>прогрева</a:t>
            </a:r>
            <a:endParaRPr lang="ru-RU" dirty="0"/>
          </a:p>
        </p:txBody>
      </p:sp>
      <p:sp>
        <p:nvSpPr>
          <p:cNvPr id="4" name="Объект 9"/>
          <p:cNvSpPr txBox="1">
            <a:spLocks/>
          </p:cNvSpPr>
          <p:nvPr/>
        </p:nvSpPr>
        <p:spPr>
          <a:xfrm>
            <a:off x="226756" y="798698"/>
            <a:ext cx="4259127" cy="398693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1038643"/>
            <a:r>
              <a:rPr lang="ru-RU" sz="1200" b="1" kern="0" smtClean="0">
                <a:solidFill>
                  <a:prstClr val="black"/>
                </a:solidFill>
              </a:rPr>
              <a:t>Изменение длины трубы после прогрева </a:t>
            </a:r>
          </a:p>
          <a:p>
            <a:pPr algn="ctr" defTabSz="1038643"/>
            <a:endParaRPr lang="ru-RU" sz="800" b="1" kern="0" smtClean="0">
              <a:solidFill>
                <a:prstClr val="black"/>
              </a:solidFill>
            </a:endParaRPr>
          </a:p>
          <a:p>
            <a:pPr algn="just" defTabSz="1038643"/>
            <a:r>
              <a:rPr lang="ru-RU" sz="1100" kern="0" smtClean="0">
                <a:solidFill>
                  <a:prstClr val="black"/>
                </a:solidFill>
              </a:rPr>
              <a:t>Метод позволяет оценить степень изменения длины </a:t>
            </a:r>
            <a:r>
              <a:rPr lang="ru-RU" sz="1100" kern="0" smtClean="0"/>
              <a:t>после выдерживания образца трубы в </a:t>
            </a:r>
            <a:r>
              <a:rPr lang="ru-RU" sz="1100" kern="0" smtClean="0">
                <a:solidFill>
                  <a:prstClr val="black"/>
                </a:solidFill>
              </a:rPr>
              <a:t>термошкафу при определенной температуре в течение заданного времени. Отмеченную на отрезке трубы длину измеряют в одинаковых условиях до и после нагрева. Это позволяет грамотно сконструировать компенсационные петли при монтаже трубопровода</a:t>
            </a:r>
            <a:endParaRPr lang="ru-RU" sz="1100" b="1" kern="0" dirty="0"/>
          </a:p>
        </p:txBody>
      </p:sp>
      <p:sp>
        <p:nvSpPr>
          <p:cNvPr id="5" name="Объект 10"/>
          <p:cNvSpPr txBox="1">
            <a:spLocks/>
          </p:cNvSpPr>
          <p:nvPr/>
        </p:nvSpPr>
        <p:spPr>
          <a:xfrm>
            <a:off x="4641407" y="798698"/>
            <a:ext cx="4267089" cy="398693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smtClean="0"/>
              <a:t>Определение толщины и овальности трубы</a:t>
            </a:r>
          </a:p>
          <a:p>
            <a:pPr algn="ctr" defTabSz="914400"/>
            <a:endParaRPr lang="ru-RU" sz="800" b="1" kern="0" smtClean="0"/>
          </a:p>
          <a:p>
            <a:pPr marL="171450" indent="-171450" algn="just" defTabSz="914400">
              <a:buClrTx/>
              <a:buFont typeface="Arial" panose="020B0604020202020204" pitchFamily="34" charset="0"/>
              <a:buChar char="•"/>
            </a:pPr>
            <a:r>
              <a:rPr lang="ru-RU" sz="1100" kern="0" smtClean="0"/>
              <a:t>За толщину принимают минимальное значение толщины стенки трубы, мм</a:t>
            </a:r>
          </a:p>
          <a:p>
            <a:pPr marL="171450" indent="-171450" algn="just" defTabSz="914400">
              <a:buClrTx/>
              <a:buFont typeface="Arial" panose="020B0604020202020204" pitchFamily="34" charset="0"/>
              <a:buChar char="•"/>
            </a:pPr>
            <a:r>
              <a:rPr lang="ru-RU" sz="1100" kern="0" smtClean="0"/>
              <a:t>Наружный диаметр трубы измеряют специальной рулеткой, либо штангенциркулем, мм</a:t>
            </a:r>
          </a:p>
          <a:p>
            <a:pPr marL="171450" indent="-171450" algn="just" defTabSz="914400">
              <a:buClrTx/>
              <a:buFont typeface="Arial" panose="020B0604020202020204" pitchFamily="34" charset="0"/>
              <a:buChar char="•"/>
            </a:pPr>
            <a:r>
              <a:rPr lang="ru-RU" sz="1100" kern="0" smtClean="0"/>
              <a:t>Овальность – разница между максимальным и минимальным диаметров </a:t>
            </a:r>
          </a:p>
          <a:p>
            <a:pPr algn="ctr" defTabSz="914400"/>
            <a:endParaRPr lang="ru-RU" sz="1200" b="1" kern="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8"/>
          <a:stretch/>
        </p:blipFill>
        <p:spPr bwMode="auto">
          <a:xfrm>
            <a:off x="4706949" y="2446488"/>
            <a:ext cx="4246396" cy="2201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AslanyanAS\Desktop\Картинки\50933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84" t="5994" r="5173" b="27817"/>
          <a:stretch/>
        </p:blipFill>
        <p:spPr bwMode="auto">
          <a:xfrm>
            <a:off x="1069579" y="2403566"/>
            <a:ext cx="2470456" cy="225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4697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ударной прочности труб методом свободнопадающего груза</a:t>
            </a:r>
          </a:p>
        </p:txBody>
      </p:sp>
      <p:sp>
        <p:nvSpPr>
          <p:cNvPr id="14" name="Объект 5"/>
          <p:cNvSpPr txBox="1">
            <a:spLocks/>
          </p:cNvSpPr>
          <p:nvPr/>
        </p:nvSpPr>
        <p:spPr>
          <a:xfrm>
            <a:off x="262779" y="717658"/>
            <a:ext cx="4175685" cy="398693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smtClean="0">
                <a:solidFill>
                  <a:prstClr val="black"/>
                </a:solidFill>
              </a:rPr>
              <a:t>Ступенчатый метод</a:t>
            </a:r>
          </a:p>
          <a:p>
            <a:pPr algn="ctr" defTabSz="914400"/>
            <a:endParaRPr lang="ru-RU" sz="800" b="1" kern="0" smtClean="0">
              <a:solidFill>
                <a:prstClr val="black"/>
              </a:solidFill>
            </a:endParaRPr>
          </a:p>
          <a:p>
            <a:pPr defTabSz="1038643"/>
            <a:r>
              <a:rPr lang="ru-RU" sz="1100" kern="0" smtClean="0">
                <a:solidFill>
                  <a:prstClr val="black"/>
                </a:solidFill>
              </a:rPr>
              <a:t>Испытание ступенчатым методом проводят до того момента, при котором</a:t>
            </a:r>
          </a:p>
          <a:p>
            <a:pPr algn="just" defTabSz="1038643"/>
            <a:r>
              <a:rPr lang="ru-RU" sz="1100" kern="0" smtClean="0"/>
              <a:t>минимальное количество разрушенных и неразрушенных образцов равно 20</a:t>
            </a:r>
          </a:p>
          <a:p>
            <a:pPr defTabSz="914400"/>
            <a:r>
              <a:rPr lang="ru-RU" sz="1100" kern="0" smtClean="0">
                <a:solidFill>
                  <a:prstClr val="black"/>
                </a:solidFill>
              </a:rPr>
              <a:t>Определяют </a:t>
            </a:r>
            <a:r>
              <a:rPr lang="en-US" sz="1100" b="1" kern="0" smtClean="0">
                <a:solidFill>
                  <a:prstClr val="black"/>
                </a:solidFill>
              </a:rPr>
              <a:t>H</a:t>
            </a:r>
            <a:r>
              <a:rPr lang="en-US" sz="1100" b="1" kern="0" baseline="-25000" smtClean="0">
                <a:solidFill>
                  <a:prstClr val="black"/>
                </a:solidFill>
              </a:rPr>
              <a:t>50</a:t>
            </a:r>
            <a:r>
              <a:rPr lang="en-US" sz="1100" kern="0" baseline="-25000" smtClean="0">
                <a:solidFill>
                  <a:prstClr val="black"/>
                </a:solidFill>
              </a:rPr>
              <a:t> </a:t>
            </a:r>
            <a:r>
              <a:rPr lang="ru-RU" sz="1100" kern="0" smtClean="0">
                <a:solidFill>
                  <a:prstClr val="black"/>
                </a:solidFill>
              </a:rPr>
              <a:t>–</a:t>
            </a:r>
            <a:r>
              <a:rPr lang="en-US" sz="1100" kern="0" smtClean="0">
                <a:solidFill>
                  <a:prstClr val="black"/>
                </a:solidFill>
              </a:rPr>
              <a:t>  </a:t>
            </a:r>
            <a:r>
              <a:rPr lang="ru-RU" sz="1100" kern="0" smtClean="0">
                <a:solidFill>
                  <a:prstClr val="black"/>
                </a:solidFill>
              </a:rPr>
              <a:t>высоту падения бойка заданной массы, при которой наблюдается разрушение 50% изделий, м</a:t>
            </a:r>
          </a:p>
          <a:p>
            <a:pPr defTabSz="914400"/>
            <a:endParaRPr lang="ru-RU" sz="1800" kern="0" dirty="0"/>
          </a:p>
        </p:txBody>
      </p:sp>
      <p:sp>
        <p:nvSpPr>
          <p:cNvPr id="15" name="Объект 6"/>
          <p:cNvSpPr txBox="1">
            <a:spLocks/>
          </p:cNvSpPr>
          <p:nvPr/>
        </p:nvSpPr>
        <p:spPr>
          <a:xfrm>
            <a:off x="4640934" y="694867"/>
            <a:ext cx="4253568" cy="398693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850" indent="-1571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17550" indent="-1254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84250" indent="-1412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1257300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914400"/>
            <a:r>
              <a:rPr lang="ru-RU" sz="1200" b="1" kern="0" smtClean="0">
                <a:solidFill>
                  <a:prstClr val="black"/>
                </a:solidFill>
              </a:rPr>
              <a:t>Метод испытания по окружности</a:t>
            </a:r>
          </a:p>
          <a:p>
            <a:pPr defTabSz="914400"/>
            <a:endParaRPr lang="ru-RU" sz="800" kern="0" smtClean="0">
              <a:solidFill>
                <a:prstClr val="black"/>
              </a:solidFill>
            </a:endParaRPr>
          </a:p>
          <a:p>
            <a:pPr algn="just" defTabSz="1038643"/>
            <a:r>
              <a:rPr lang="en-US" sz="1100" b="1" kern="0" smtClean="0">
                <a:solidFill>
                  <a:prstClr val="black"/>
                </a:solidFill>
              </a:rPr>
              <a:t>TIR</a:t>
            </a:r>
            <a:r>
              <a:rPr lang="en-US" sz="1100" kern="0" smtClean="0">
                <a:solidFill>
                  <a:prstClr val="black"/>
                </a:solidFill>
              </a:rPr>
              <a:t> – </a:t>
            </a:r>
            <a:r>
              <a:rPr lang="ru-RU" sz="1100" kern="0" smtClean="0">
                <a:solidFill>
                  <a:prstClr val="black"/>
                </a:solidFill>
              </a:rPr>
              <a:t>отношение количества разрушений образца к общему количеству проведённых испытаний.</a:t>
            </a:r>
          </a:p>
          <a:p>
            <a:pPr algn="just" defTabSz="1038643"/>
            <a:r>
              <a:rPr lang="ru-RU" sz="1100" kern="0" smtClean="0">
                <a:solidFill>
                  <a:prstClr val="black"/>
                </a:solidFill>
              </a:rPr>
              <a:t>Категория </a:t>
            </a:r>
            <a:r>
              <a:rPr lang="en-US" sz="1100" kern="0" smtClean="0">
                <a:solidFill>
                  <a:prstClr val="black"/>
                </a:solidFill>
              </a:rPr>
              <a:t>A, B, C </a:t>
            </a:r>
            <a:r>
              <a:rPr lang="ru-RU" sz="1100" kern="0" smtClean="0">
                <a:solidFill>
                  <a:prstClr val="black"/>
                </a:solidFill>
              </a:rPr>
              <a:t>в зависимости от </a:t>
            </a:r>
            <a:r>
              <a:rPr lang="en-US" sz="1100" kern="0" smtClean="0">
                <a:solidFill>
                  <a:prstClr val="black"/>
                </a:solidFill>
              </a:rPr>
              <a:t>TIR</a:t>
            </a:r>
            <a:endParaRPr lang="ru-RU" sz="1100" kern="0" smtClean="0">
              <a:solidFill>
                <a:prstClr val="black"/>
              </a:solidFill>
            </a:endParaRPr>
          </a:p>
          <a:p>
            <a:pPr algn="just" defTabSz="914400"/>
            <a:r>
              <a:rPr lang="ru-RU" sz="1100" kern="0" smtClean="0">
                <a:solidFill>
                  <a:prstClr val="black"/>
                </a:solidFill>
              </a:rPr>
              <a:t>После испытания определяют категорию трубы (А, </a:t>
            </a:r>
            <a:r>
              <a:rPr lang="en-US" sz="1100" kern="0" smtClean="0">
                <a:solidFill>
                  <a:prstClr val="black"/>
                </a:solidFill>
              </a:rPr>
              <a:t>B, C)</a:t>
            </a:r>
            <a:r>
              <a:rPr lang="ru-RU" sz="1100" kern="0" smtClean="0">
                <a:solidFill>
                  <a:prstClr val="black"/>
                </a:solidFill>
              </a:rPr>
              <a:t>:</a:t>
            </a:r>
          </a:p>
          <a:p>
            <a:pPr defTabSz="914400"/>
            <a:endParaRPr lang="ru-RU" sz="1800" kern="0" dirty="0"/>
          </a:p>
        </p:txBody>
      </p:sp>
      <p:grpSp>
        <p:nvGrpSpPr>
          <p:cNvPr id="16" name="Группа 15"/>
          <p:cNvGrpSpPr>
            <a:grpSpLocks noChangeAspect="1"/>
          </p:cNvGrpSpPr>
          <p:nvPr/>
        </p:nvGrpSpPr>
        <p:grpSpPr>
          <a:xfrm>
            <a:off x="117666" y="2222941"/>
            <a:ext cx="1664045" cy="1466584"/>
            <a:chOff x="7356132" y="1162944"/>
            <a:chExt cx="1764167" cy="1554826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7814858" y="1162944"/>
              <a:ext cx="855418" cy="1298115"/>
              <a:chOff x="7814858" y="1162944"/>
              <a:chExt cx="855418" cy="1298115"/>
            </a:xfrm>
          </p:grpSpPr>
          <p:grpSp>
            <p:nvGrpSpPr>
              <p:cNvPr id="19" name="Группа 18"/>
              <p:cNvGrpSpPr>
                <a:grpSpLocks noChangeAspect="1"/>
              </p:cNvGrpSpPr>
              <p:nvPr/>
            </p:nvGrpSpPr>
            <p:grpSpPr>
              <a:xfrm>
                <a:off x="7814858" y="1162944"/>
                <a:ext cx="855418" cy="1298115"/>
                <a:chOff x="7200000" y="2247694"/>
                <a:chExt cx="1069275" cy="1622644"/>
              </a:xfrm>
            </p:grpSpPr>
            <p:sp>
              <p:nvSpPr>
                <p:cNvPr id="21" name="Овал 20"/>
                <p:cNvSpPr>
                  <a:spLocks noChangeAspect="1"/>
                </p:cNvSpPr>
                <p:nvPr/>
              </p:nvSpPr>
              <p:spPr bwMode="auto">
                <a:xfrm>
                  <a:off x="7405201" y="3006301"/>
                  <a:ext cx="648000" cy="648072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121920" tIns="60960" rIns="121920" bIns="6096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400" b="1">
                    <a:latin typeface="Arial" charset="0"/>
                  </a:endParaRPr>
                </a:p>
              </p:txBody>
            </p:sp>
            <p:grpSp>
              <p:nvGrpSpPr>
                <p:cNvPr id="22" name="Группа 21"/>
                <p:cNvGrpSpPr/>
                <p:nvPr/>
              </p:nvGrpSpPr>
              <p:grpSpPr>
                <a:xfrm>
                  <a:off x="7200000" y="3319152"/>
                  <a:ext cx="1069275" cy="551186"/>
                  <a:chOff x="7164312" y="3319152"/>
                  <a:chExt cx="1069275" cy="551186"/>
                </a:xfrm>
              </p:grpSpPr>
              <p:cxnSp>
                <p:nvCxnSpPr>
                  <p:cNvPr id="28" name="Прямая соединительная линия 27"/>
                  <p:cNvCxnSpPr/>
                  <p:nvPr/>
                </p:nvCxnSpPr>
                <p:spPr bwMode="auto">
                  <a:xfrm>
                    <a:off x="7164312" y="3330338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29" name="Прямая соединительная линия 28"/>
                  <p:cNvCxnSpPr/>
                  <p:nvPr/>
                </p:nvCxnSpPr>
                <p:spPr bwMode="auto">
                  <a:xfrm rot="5400000">
                    <a:off x="7693587" y="3319152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23" name="Группа 22"/>
                <p:cNvGrpSpPr/>
                <p:nvPr/>
              </p:nvGrpSpPr>
              <p:grpSpPr>
                <a:xfrm>
                  <a:off x="7632304" y="2247694"/>
                  <a:ext cx="144000" cy="288000"/>
                  <a:chOff x="8532440" y="2787790"/>
                  <a:chExt cx="144000" cy="288000"/>
                </a:xfrm>
              </p:grpSpPr>
              <p:sp>
                <p:nvSpPr>
                  <p:cNvPr id="25" name="Овал 24"/>
                  <p:cNvSpPr>
                    <a:spLocks noChangeAspect="1"/>
                  </p:cNvSpPr>
                  <p:nvPr/>
                </p:nvSpPr>
                <p:spPr bwMode="auto">
                  <a:xfrm>
                    <a:off x="8532440" y="2931790"/>
                    <a:ext cx="144000" cy="144000"/>
                  </a:xfrm>
                  <a:prstGeom prst="ellipse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21920" tIns="60960" rIns="121920" bIns="6096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2400" b="1">
                      <a:latin typeface="Arial" charset="0"/>
                    </a:endParaRPr>
                  </a:p>
                </p:txBody>
              </p:sp>
              <p:sp>
                <p:nvSpPr>
                  <p:cNvPr id="26" name="Прямоугольник 25"/>
                  <p:cNvSpPr/>
                  <p:nvPr/>
                </p:nvSpPr>
                <p:spPr bwMode="auto">
                  <a:xfrm>
                    <a:off x="8532440" y="2931774"/>
                    <a:ext cx="144000" cy="72000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21920" tIns="60960" rIns="121920" bIns="6096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2400" b="1">
                      <a:latin typeface="Arial" charset="0"/>
                    </a:endParaRPr>
                  </a:p>
                </p:txBody>
              </p:sp>
              <p:cxnSp>
                <p:nvCxnSpPr>
                  <p:cNvPr id="27" name="Прямая соединительная линия 26"/>
                  <p:cNvCxnSpPr/>
                  <p:nvPr/>
                </p:nvCxnSpPr>
                <p:spPr bwMode="auto">
                  <a:xfrm>
                    <a:off x="8604432" y="2787790"/>
                    <a:ext cx="8" cy="144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cxnSp>
              <p:nvCxnSpPr>
                <p:cNvPr id="24" name="Прямая со стрелкой 23"/>
                <p:cNvCxnSpPr/>
                <p:nvPr/>
              </p:nvCxnSpPr>
              <p:spPr bwMode="auto">
                <a:xfrm>
                  <a:off x="7704312" y="2602808"/>
                  <a:ext cx="0" cy="324000"/>
                </a:xfrm>
                <a:prstGeom prst="straightConnector1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0" name="Умножение 19"/>
              <p:cNvSpPr>
                <a:spLocks noChangeAspect="1"/>
              </p:cNvSpPr>
              <p:nvPr/>
            </p:nvSpPr>
            <p:spPr bwMode="auto">
              <a:xfrm>
                <a:off x="8138787" y="1690316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21920" tIns="60960" rIns="121920" bIns="6096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219194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2400" b="1">
                  <a:latin typeface="Arial" charset="0"/>
                </a:endParaRPr>
              </a:p>
            </p:txBody>
          </p:sp>
        </p:grpSp>
        <p:sp>
          <p:nvSpPr>
            <p:cNvPr id="18" name="Прямоугольник 17"/>
            <p:cNvSpPr/>
            <p:nvPr/>
          </p:nvSpPr>
          <p:spPr>
            <a:xfrm>
              <a:off x="7356132" y="2461059"/>
              <a:ext cx="1764167" cy="2567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dirty="0"/>
                <a:t>Ступенчатый метод</a:t>
              </a:r>
            </a:p>
          </p:txBody>
        </p:sp>
      </p:grpSp>
      <p:grpSp>
        <p:nvGrpSpPr>
          <p:cNvPr id="30" name="Группа 29"/>
          <p:cNvGrpSpPr>
            <a:grpSpLocks noChangeAspect="1"/>
          </p:cNvGrpSpPr>
          <p:nvPr/>
        </p:nvGrpSpPr>
        <p:grpSpPr>
          <a:xfrm>
            <a:off x="4640934" y="2204763"/>
            <a:ext cx="1928569" cy="1600694"/>
            <a:chOff x="7210858" y="3075806"/>
            <a:chExt cx="2136416" cy="1773201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7812360" y="3075806"/>
              <a:ext cx="855418" cy="1298115"/>
              <a:chOff x="7812360" y="3075806"/>
              <a:chExt cx="855418" cy="1298115"/>
            </a:xfrm>
          </p:grpSpPr>
          <p:grpSp>
            <p:nvGrpSpPr>
              <p:cNvPr id="33" name="Группа 32"/>
              <p:cNvGrpSpPr>
                <a:grpSpLocks noChangeAspect="1"/>
              </p:cNvGrpSpPr>
              <p:nvPr/>
            </p:nvGrpSpPr>
            <p:grpSpPr>
              <a:xfrm>
                <a:off x="7812360" y="3075806"/>
                <a:ext cx="855418" cy="1298115"/>
                <a:chOff x="7200000" y="2247694"/>
                <a:chExt cx="1069275" cy="1622644"/>
              </a:xfrm>
            </p:grpSpPr>
            <p:sp>
              <p:nvSpPr>
                <p:cNvPr id="38" name="Овал 37"/>
                <p:cNvSpPr>
                  <a:spLocks noChangeAspect="1"/>
                </p:cNvSpPr>
                <p:nvPr/>
              </p:nvSpPr>
              <p:spPr bwMode="auto">
                <a:xfrm>
                  <a:off x="7405200" y="3006302"/>
                  <a:ext cx="648000" cy="648072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121920" tIns="60960" rIns="121920" bIns="6096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9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2400" b="1">
                    <a:latin typeface="Arial" charset="0"/>
                  </a:endParaRPr>
                </a:p>
              </p:txBody>
            </p:sp>
            <p:grpSp>
              <p:nvGrpSpPr>
                <p:cNvPr id="39" name="Группа 38"/>
                <p:cNvGrpSpPr/>
                <p:nvPr/>
              </p:nvGrpSpPr>
              <p:grpSpPr>
                <a:xfrm>
                  <a:off x="7200000" y="3319152"/>
                  <a:ext cx="1069275" cy="551186"/>
                  <a:chOff x="7164312" y="3319152"/>
                  <a:chExt cx="1069275" cy="551186"/>
                </a:xfrm>
              </p:grpSpPr>
              <p:cxnSp>
                <p:nvCxnSpPr>
                  <p:cNvPr id="45" name="Прямая соединительная линия 44"/>
                  <p:cNvCxnSpPr/>
                  <p:nvPr/>
                </p:nvCxnSpPr>
                <p:spPr bwMode="auto">
                  <a:xfrm>
                    <a:off x="7164312" y="3330338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46" name="Прямая соединительная линия 45"/>
                  <p:cNvCxnSpPr/>
                  <p:nvPr/>
                </p:nvCxnSpPr>
                <p:spPr bwMode="auto">
                  <a:xfrm rot="5400000">
                    <a:off x="7693587" y="3319152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40" name="Группа 39"/>
                <p:cNvGrpSpPr/>
                <p:nvPr/>
              </p:nvGrpSpPr>
              <p:grpSpPr>
                <a:xfrm>
                  <a:off x="7632304" y="2247694"/>
                  <a:ext cx="144000" cy="288000"/>
                  <a:chOff x="8532440" y="2787790"/>
                  <a:chExt cx="144000" cy="288000"/>
                </a:xfrm>
              </p:grpSpPr>
              <p:sp>
                <p:nvSpPr>
                  <p:cNvPr id="42" name="Овал 41"/>
                  <p:cNvSpPr>
                    <a:spLocks noChangeAspect="1"/>
                  </p:cNvSpPr>
                  <p:nvPr/>
                </p:nvSpPr>
                <p:spPr bwMode="auto">
                  <a:xfrm>
                    <a:off x="8532440" y="2931790"/>
                    <a:ext cx="144000" cy="144000"/>
                  </a:xfrm>
                  <a:prstGeom prst="ellipse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21920" tIns="60960" rIns="121920" bIns="6096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2400" b="1">
                      <a:latin typeface="Arial" charset="0"/>
                    </a:endParaRPr>
                  </a:p>
                </p:txBody>
              </p:sp>
              <p:sp>
                <p:nvSpPr>
                  <p:cNvPr id="43" name="Прямоугольник 42"/>
                  <p:cNvSpPr/>
                  <p:nvPr/>
                </p:nvSpPr>
                <p:spPr bwMode="auto">
                  <a:xfrm>
                    <a:off x="8532440" y="2931774"/>
                    <a:ext cx="144000" cy="72000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21920" tIns="60960" rIns="121920" bIns="6096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9194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2400" b="1">
                      <a:latin typeface="Arial" charset="0"/>
                    </a:endParaRPr>
                  </a:p>
                </p:txBody>
              </p:sp>
              <p:cxnSp>
                <p:nvCxnSpPr>
                  <p:cNvPr id="44" name="Прямая соединительная линия 43"/>
                  <p:cNvCxnSpPr/>
                  <p:nvPr/>
                </p:nvCxnSpPr>
                <p:spPr bwMode="auto">
                  <a:xfrm>
                    <a:off x="8604432" y="2787790"/>
                    <a:ext cx="8" cy="144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cxnSp>
              <p:nvCxnSpPr>
                <p:cNvPr id="41" name="Прямая со стрелкой 40"/>
                <p:cNvCxnSpPr/>
                <p:nvPr/>
              </p:nvCxnSpPr>
              <p:spPr bwMode="auto">
                <a:xfrm>
                  <a:off x="7704312" y="2602808"/>
                  <a:ext cx="0" cy="324000"/>
                </a:xfrm>
                <a:prstGeom prst="straightConnector1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34" name="Умножение 33"/>
              <p:cNvSpPr>
                <a:spLocks noChangeAspect="1"/>
              </p:cNvSpPr>
              <p:nvPr/>
            </p:nvSpPr>
            <p:spPr bwMode="auto">
              <a:xfrm>
                <a:off x="8158202" y="3603178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21920" tIns="60960" rIns="121920" bIns="6096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219194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2400" b="1">
                  <a:latin typeface="Arial" charset="0"/>
                </a:endParaRPr>
              </a:p>
            </p:txBody>
          </p:sp>
          <p:sp>
            <p:nvSpPr>
              <p:cNvPr id="35" name="Умножение 34"/>
              <p:cNvSpPr>
                <a:spLocks noChangeAspect="1"/>
              </p:cNvSpPr>
              <p:nvPr/>
            </p:nvSpPr>
            <p:spPr bwMode="auto">
              <a:xfrm>
                <a:off x="8374756" y="3989944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21920" tIns="60960" rIns="121920" bIns="6096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219194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2400" b="1">
                  <a:latin typeface="Arial" charset="0"/>
                </a:endParaRPr>
              </a:p>
            </p:txBody>
          </p:sp>
          <p:sp>
            <p:nvSpPr>
              <p:cNvPr id="36" name="Умножение 35"/>
              <p:cNvSpPr>
                <a:spLocks noChangeAspect="1"/>
              </p:cNvSpPr>
              <p:nvPr/>
            </p:nvSpPr>
            <p:spPr bwMode="auto">
              <a:xfrm>
                <a:off x="7938000" y="3996000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21920" tIns="60960" rIns="121920" bIns="6096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219194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2400" b="1">
                  <a:latin typeface="Arial" charset="0"/>
                </a:endParaRPr>
              </a:p>
            </p:txBody>
          </p:sp>
          <p:cxnSp>
            <p:nvCxnSpPr>
              <p:cNvPr id="37" name="Скругленная соединительная линия 36"/>
              <p:cNvCxnSpPr>
                <a:cxnSpLocks noChangeAspect="1"/>
              </p:cNvCxnSpPr>
              <p:nvPr/>
            </p:nvCxnSpPr>
            <p:spPr bwMode="auto">
              <a:xfrm rot="8880000" flipH="1" flipV="1">
                <a:off x="8525741" y="3590414"/>
                <a:ext cx="9768" cy="281951"/>
              </a:xfrm>
              <a:prstGeom prst="curvedConnector3">
                <a:avLst>
                  <a:gd name="adj1" fmla="val 1946089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32" name="Прямоугольник 31"/>
            <p:cNvSpPr/>
            <p:nvPr/>
          </p:nvSpPr>
          <p:spPr>
            <a:xfrm>
              <a:off x="7210858" y="4372641"/>
              <a:ext cx="2136416" cy="47636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dirty="0"/>
                <a:t>Метод испытания по окружности</a:t>
              </a:r>
            </a:p>
          </p:txBody>
        </p:sp>
      </p:grpSp>
      <p:pic>
        <p:nvPicPr>
          <p:cNvPr id="47" name="Picture 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47" b="6535"/>
          <a:stretch/>
        </p:blipFill>
        <p:spPr bwMode="auto">
          <a:xfrm>
            <a:off x="1676445" y="2234365"/>
            <a:ext cx="2704848" cy="110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927" y="2175587"/>
            <a:ext cx="2348716" cy="154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261710" y="3789082"/>
            <a:ext cx="486679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dirty="0"/>
              <a:t>Применение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Контроль качества и паспортизация продукции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/>
              <a:t>Исследовательские работы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b="1" dirty="0" smtClean="0"/>
              <a:t>Сертификация </a:t>
            </a:r>
            <a:r>
              <a:rPr lang="ru-RU" sz="1100" b="1" dirty="0"/>
              <a:t>трубных марок </a:t>
            </a:r>
            <a:r>
              <a:rPr lang="ru-RU" sz="1100" b="1" dirty="0" smtClean="0"/>
              <a:t>полимеров</a:t>
            </a:r>
          </a:p>
          <a:p>
            <a:pPr marL="171450" indent="-171450" algn="just">
              <a:buFont typeface="Wingdings" panose="05000000000000000000" pitchFamily="2" charset="2"/>
              <a:buChar char="ü"/>
            </a:pPr>
            <a:r>
              <a:rPr lang="ru-RU" sz="1100" dirty="0" smtClean="0"/>
              <a:t>Определение условия транспортировки и монтажа труб</a:t>
            </a:r>
            <a:endParaRPr lang="ru-RU" sz="1100" dirty="0"/>
          </a:p>
        </p:txBody>
      </p:sp>
      <p:sp>
        <p:nvSpPr>
          <p:cNvPr id="50" name="Номер слайда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2718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255600" y="1217533"/>
            <a:ext cx="6217809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жность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эксперт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ОО «СИБУР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лилаб»</a:t>
            </a:r>
          </a:p>
          <a:p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Высшее образование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– МИТХТ им. М.В. Ломоносова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Технология переработки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ластических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масс и эластомеров</a:t>
            </a:r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9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О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«СИБУР ПолиЛаб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»: с 2018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  <a:p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ОО "УК Группа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олипластик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»: 2013 - 2018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гг.</a:t>
            </a:r>
          </a:p>
          <a:p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solidFill>
                  <a:srgbClr val="0088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кое описание опыта и достижений</a:t>
            </a:r>
          </a:p>
          <a:p>
            <a:pPr marL="155951" indent="-155951"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й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обращениям потребителей и клиентским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ервисам. Выполнение исследований методами дифференциальной сканирующей калориметрии (ДСК), инфракрасной спектроскопии, сканирующей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электронной микроскопии (СЭМ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0133" y="814762"/>
            <a:ext cx="2413747" cy="3620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84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ми методами можно исследовать химическую структуру полимеров?</a:t>
            </a:r>
          </a:p>
        </p:txBody>
      </p:sp>
      <p:sp>
        <p:nvSpPr>
          <p:cNvPr id="37" name="Овал 36"/>
          <p:cNvSpPr/>
          <p:nvPr/>
        </p:nvSpPr>
        <p:spPr>
          <a:xfrm>
            <a:off x="2894319" y="783702"/>
            <a:ext cx="3392115" cy="339211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8" name="Овал 37"/>
          <p:cNvSpPr/>
          <p:nvPr/>
        </p:nvSpPr>
        <p:spPr>
          <a:xfrm>
            <a:off x="3003271" y="883316"/>
            <a:ext cx="3210558" cy="3210558"/>
          </a:xfrm>
          <a:prstGeom prst="ellipse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135959" y="2318360"/>
            <a:ext cx="2843408" cy="952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533400">
              <a:lnSpc>
                <a:spcPct val="90000"/>
              </a:lnSpc>
              <a:spcAft>
                <a:spcPct val="35000"/>
              </a:spcAft>
            </a:pPr>
            <a:r>
              <a:rPr lang="ru-RU" sz="1400" b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ИК-Фурье СПЕКТРОСКОПИЯ</a:t>
            </a:r>
          </a:p>
          <a:p>
            <a:pPr marL="171450" indent="-171450" defTabSz="5334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        Определение качественного                 	состава </a:t>
            </a:r>
          </a:p>
          <a:p>
            <a:pPr algn="r" defTabSz="533400">
              <a:lnSpc>
                <a:spcPct val="90000"/>
              </a:lnSpc>
              <a:spcAft>
                <a:spcPct val="35000"/>
              </a:spcAft>
            </a:pPr>
            <a:endParaRPr lang="ru-RU" sz="1400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44" name="Группа 43"/>
          <p:cNvGrpSpPr/>
          <p:nvPr/>
        </p:nvGrpSpPr>
        <p:grpSpPr>
          <a:xfrm>
            <a:off x="134349" y="897078"/>
            <a:ext cx="3687888" cy="1745488"/>
            <a:chOff x="-198282" y="3025163"/>
            <a:chExt cx="3687888" cy="1745488"/>
          </a:xfrm>
        </p:grpSpPr>
        <p:sp>
          <p:nvSpPr>
            <p:cNvPr id="45" name="Овал 44"/>
            <p:cNvSpPr/>
            <p:nvPr/>
          </p:nvSpPr>
          <p:spPr>
            <a:xfrm>
              <a:off x="2640213" y="3025163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6" name="Круговая стрелка 45"/>
            <p:cNvSpPr/>
            <p:nvPr/>
          </p:nvSpPr>
          <p:spPr>
            <a:xfrm rot="18900000">
              <a:off x="2667456" y="3052406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-198282" y="4484419"/>
              <a:ext cx="2700291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ПРЕПАРАТИВНЫЕ МЕТОДЫ</a:t>
              </a:r>
              <a:endPara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827243" y="3188249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5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5119296" y="2523717"/>
            <a:ext cx="3040606" cy="1486257"/>
            <a:chOff x="5342252" y="3052406"/>
            <a:chExt cx="3040606" cy="1486257"/>
          </a:xfrm>
        </p:grpSpPr>
        <p:sp>
          <p:nvSpPr>
            <p:cNvPr id="51" name="Круговая стрелка 50"/>
            <p:cNvSpPr/>
            <p:nvPr/>
          </p:nvSpPr>
          <p:spPr>
            <a:xfrm rot="18900000">
              <a:off x="6040405" y="3052406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5342252" y="4252431"/>
              <a:ext cx="3040606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533400">
                <a:lnSpc>
                  <a:spcPct val="90000"/>
                </a:lnSpc>
              </a:pPr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ХРОМАТОГРАФИЯ</a:t>
              </a:r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201184" y="3188249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2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2571400" y="912242"/>
            <a:ext cx="5976181" cy="2449220"/>
            <a:chOff x="3476310" y="2878055"/>
            <a:chExt cx="5976181" cy="2449220"/>
          </a:xfrm>
        </p:grpSpPr>
        <p:sp>
          <p:nvSpPr>
            <p:cNvPr id="55" name="Овал 54"/>
            <p:cNvSpPr/>
            <p:nvPr/>
          </p:nvSpPr>
          <p:spPr>
            <a:xfrm>
              <a:off x="3476310" y="4477882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F58A1F">
                    <a:shade val="30000"/>
                    <a:satMod val="115000"/>
                  </a:srgbClr>
                </a:gs>
                <a:gs pos="50000">
                  <a:srgbClr val="F58A1F">
                    <a:shade val="67500"/>
                    <a:satMod val="115000"/>
                  </a:srgbClr>
                </a:gs>
                <a:gs pos="100000">
                  <a:srgbClr val="F58A1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6" name="Круговая стрелка 55"/>
            <p:cNvSpPr/>
            <p:nvPr/>
          </p:nvSpPr>
          <p:spPr>
            <a:xfrm rot="18900000">
              <a:off x="3503553" y="4505125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7040869" y="2878055"/>
              <a:ext cx="2411622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533400">
                <a:lnSpc>
                  <a:spcPct val="90000"/>
                </a:lnSpc>
              </a:pPr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ТЕРМИЧЕСКИЕ МЕТОДЫ</a:t>
              </a:r>
              <a:endPara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3652786" y="4656208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4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sp>
        <p:nvSpPr>
          <p:cNvPr id="62" name="Прямоугольник 61"/>
          <p:cNvSpPr/>
          <p:nvPr/>
        </p:nvSpPr>
        <p:spPr>
          <a:xfrm>
            <a:off x="1407357" y="915317"/>
            <a:ext cx="3023104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33400">
              <a:lnSpc>
                <a:spcPct val="90000"/>
              </a:lnSpc>
            </a:pPr>
            <a:r>
              <a:rPr lang="ru-RU" sz="1400" b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МИКРОСКОПИЯ</a:t>
            </a:r>
            <a:endParaRPr lang="ru-RU" sz="1400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2805576" y="2092355"/>
            <a:ext cx="3567187" cy="1732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r>
              <a:rPr lang="ru-RU" altLang="ru-RU" sz="2250" b="1" dirty="0" smtClean="0">
                <a:solidFill>
                  <a:prstClr val="black"/>
                </a:solidFill>
              </a:rPr>
              <a:t>ФИЗИКО-ХИМИЧЕСКИЕ</a:t>
            </a:r>
            <a:br>
              <a:rPr lang="ru-RU" altLang="ru-RU" sz="2250" b="1" dirty="0" smtClean="0">
                <a:solidFill>
                  <a:prstClr val="black"/>
                </a:solidFill>
              </a:rPr>
            </a:br>
            <a:r>
              <a:rPr lang="ru-RU" altLang="ru-RU" sz="2250" b="1" dirty="0" smtClean="0">
                <a:solidFill>
                  <a:prstClr val="black"/>
                </a:solidFill>
              </a:rPr>
              <a:t>ИССЛЕДОВАНИЯ</a:t>
            </a:r>
          </a:p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endParaRPr lang="ru-RU" sz="1200" dirty="0" smtClean="0"/>
          </a:p>
          <a:p>
            <a:pPr algn="ctr" defTabSz="5334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/>
              <a:t>Регистрация изменений</a:t>
            </a:r>
            <a:br>
              <a:rPr lang="ru-RU" sz="1200" dirty="0" smtClean="0"/>
            </a:br>
            <a:r>
              <a:rPr lang="ru-RU" sz="1200" dirty="0" smtClean="0"/>
              <a:t>физических характеристик образца</a:t>
            </a:r>
            <a:br>
              <a:rPr lang="ru-RU" sz="1200" dirty="0" smtClean="0"/>
            </a:br>
            <a:r>
              <a:rPr lang="ru-RU" sz="1200" dirty="0" smtClean="0"/>
              <a:t>в зависимости от его химического/ структурного состава</a:t>
            </a:r>
            <a:endParaRPr lang="en-US" sz="1200" dirty="0" smtClean="0"/>
          </a:p>
        </p:txBody>
      </p:sp>
      <p:sp>
        <p:nvSpPr>
          <p:cNvPr id="65" name="Прямоугольник 64"/>
          <p:cNvSpPr/>
          <p:nvPr/>
        </p:nvSpPr>
        <p:spPr>
          <a:xfrm>
            <a:off x="271197" y="2582615"/>
            <a:ext cx="24079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/>
              <a:t>Определение соответствия </a:t>
            </a:r>
            <a:r>
              <a:rPr lang="ru-RU" sz="1200" dirty="0" smtClean="0"/>
              <a:t>материала </a:t>
            </a:r>
            <a:r>
              <a:rPr lang="ru-RU" sz="1200" dirty="0"/>
              <a:t>предъявляемым </a:t>
            </a:r>
            <a:r>
              <a:rPr lang="ru-RU" sz="1200" dirty="0" smtClean="0"/>
              <a:t>требования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Исследование молекулярной структуры полимеров</a:t>
            </a:r>
            <a:endParaRPr lang="ru-RU" sz="1200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5003577" y="4014187"/>
            <a:ext cx="255789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Качественное/количественное определение </a:t>
            </a:r>
            <a:r>
              <a:rPr lang="ru-RU" sz="1200" dirty="0"/>
              <a:t>добавок в образце </a:t>
            </a:r>
            <a:r>
              <a:rPr lang="ru-RU" sz="1200" dirty="0" smtClean="0"/>
              <a:t>полимера</a:t>
            </a:r>
          </a:p>
          <a:p>
            <a:pPr marL="171450" indent="-17145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Молекулярно-массовые характеристики</a:t>
            </a:r>
            <a:endParaRPr lang="ru-RU" sz="1200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6213997" y="1145995"/>
            <a:ext cx="2425886" cy="895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Определение типа полимера</a:t>
            </a:r>
          </a:p>
          <a:p>
            <a:pPr marL="171450" indent="-17145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/>
              <a:t>Качество распределения </a:t>
            </a:r>
            <a:r>
              <a:rPr lang="ru-RU" sz="1200" dirty="0" smtClean="0"/>
              <a:t>добавок</a:t>
            </a:r>
          </a:p>
          <a:p>
            <a:pPr marL="171450" indent="-17145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/>
              <a:t>Определение содержания технического углерода, золы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41258" y="1111090"/>
            <a:ext cx="26940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Оценка макро- и микроструктуры материал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Элементный анализ</a:t>
            </a:r>
            <a:endParaRPr lang="ru-RU" sz="1200" dirty="0"/>
          </a:p>
        </p:txBody>
      </p:sp>
      <p:pic>
        <p:nvPicPr>
          <p:cNvPr id="69" name="Picture 2" descr="C:\Users\Mukhamadeevaag\Pictures\Методы исследования\184105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3"/>
          <a:stretch/>
        </p:blipFill>
        <p:spPr bwMode="auto">
          <a:xfrm>
            <a:off x="3901036" y="1212716"/>
            <a:ext cx="1378777" cy="780579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1" name="Группа 70"/>
          <p:cNvGrpSpPr/>
          <p:nvPr/>
        </p:nvGrpSpPr>
        <p:grpSpPr>
          <a:xfrm>
            <a:off x="4197298" y="3775996"/>
            <a:ext cx="849393" cy="849393"/>
            <a:chOff x="3476310" y="4477882"/>
            <a:chExt cx="849393" cy="849393"/>
          </a:xfrm>
        </p:grpSpPr>
        <p:sp>
          <p:nvSpPr>
            <p:cNvPr id="72" name="Овал 71"/>
            <p:cNvSpPr/>
            <p:nvPr/>
          </p:nvSpPr>
          <p:spPr>
            <a:xfrm>
              <a:off x="3476310" y="4477882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F58A1F">
                    <a:shade val="30000"/>
                    <a:satMod val="115000"/>
                  </a:srgbClr>
                </a:gs>
                <a:gs pos="50000">
                  <a:srgbClr val="F58A1F">
                    <a:shade val="67500"/>
                    <a:satMod val="115000"/>
                  </a:srgbClr>
                </a:gs>
                <a:gs pos="100000">
                  <a:srgbClr val="F58A1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3" name="Круговая стрелка 72"/>
            <p:cNvSpPr/>
            <p:nvPr/>
          </p:nvSpPr>
          <p:spPr>
            <a:xfrm rot="18900000">
              <a:off x="3503553" y="4505125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3652786" y="4656208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</a:t>
              </a:r>
              <a:r>
                <a:rPr lang="ru-RU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3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grpSp>
        <p:nvGrpSpPr>
          <p:cNvPr id="76" name="Группа 75"/>
          <p:cNvGrpSpPr/>
          <p:nvPr/>
        </p:nvGrpSpPr>
        <p:grpSpPr>
          <a:xfrm>
            <a:off x="2972843" y="897078"/>
            <a:ext cx="849393" cy="849393"/>
            <a:chOff x="3476310" y="4477882"/>
            <a:chExt cx="849393" cy="849393"/>
          </a:xfrm>
        </p:grpSpPr>
        <p:sp>
          <p:nvSpPr>
            <p:cNvPr id="77" name="Овал 76"/>
            <p:cNvSpPr/>
            <p:nvPr/>
          </p:nvSpPr>
          <p:spPr>
            <a:xfrm>
              <a:off x="3476310" y="4477882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F58A1F">
                    <a:shade val="30000"/>
                    <a:satMod val="115000"/>
                  </a:srgbClr>
                </a:gs>
                <a:gs pos="50000">
                  <a:srgbClr val="F58A1F">
                    <a:shade val="67500"/>
                    <a:satMod val="115000"/>
                  </a:srgbClr>
                </a:gs>
                <a:gs pos="100000">
                  <a:srgbClr val="F58A1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8" name="Круговая стрелка 77"/>
            <p:cNvSpPr/>
            <p:nvPr/>
          </p:nvSpPr>
          <p:spPr>
            <a:xfrm rot="18900000">
              <a:off x="3503553" y="4505125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3652786" y="4656208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</a:t>
              </a:r>
              <a:r>
                <a:rPr lang="ru-RU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5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5358612" y="832800"/>
            <a:ext cx="849393" cy="849393"/>
            <a:chOff x="3476310" y="4477882"/>
            <a:chExt cx="849393" cy="849393"/>
          </a:xfrm>
        </p:grpSpPr>
        <p:sp>
          <p:nvSpPr>
            <p:cNvPr id="85" name="Овал 84"/>
            <p:cNvSpPr/>
            <p:nvPr/>
          </p:nvSpPr>
          <p:spPr>
            <a:xfrm>
              <a:off x="3476310" y="4477882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F58A1F">
                    <a:shade val="30000"/>
                    <a:satMod val="115000"/>
                  </a:srgbClr>
                </a:gs>
                <a:gs pos="50000">
                  <a:srgbClr val="F58A1F">
                    <a:shade val="67500"/>
                    <a:satMod val="115000"/>
                  </a:srgbClr>
                </a:gs>
                <a:gs pos="100000">
                  <a:srgbClr val="F58A1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6" name="Круговая стрелка 85"/>
            <p:cNvSpPr/>
            <p:nvPr/>
          </p:nvSpPr>
          <p:spPr>
            <a:xfrm rot="18900000">
              <a:off x="3503553" y="4505125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652786" y="4656208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</a:t>
              </a:r>
              <a:r>
                <a:rPr lang="ru-RU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1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sp>
        <p:nvSpPr>
          <p:cNvPr id="88" name="Номер слайда 8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0</a:t>
            </a:fld>
            <a:endParaRPr lang="ru-RU" dirty="0"/>
          </a:p>
        </p:txBody>
      </p:sp>
      <p:grpSp>
        <p:nvGrpSpPr>
          <p:cNvPr id="50" name="Группа 49"/>
          <p:cNvGrpSpPr/>
          <p:nvPr/>
        </p:nvGrpSpPr>
        <p:grpSpPr>
          <a:xfrm>
            <a:off x="5804711" y="2502409"/>
            <a:ext cx="849393" cy="849393"/>
            <a:chOff x="3476310" y="4477882"/>
            <a:chExt cx="849393" cy="849393"/>
          </a:xfrm>
        </p:grpSpPr>
        <p:sp>
          <p:nvSpPr>
            <p:cNvPr id="59" name="Овал 58"/>
            <p:cNvSpPr/>
            <p:nvPr/>
          </p:nvSpPr>
          <p:spPr>
            <a:xfrm>
              <a:off x="3476310" y="4477882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F58A1F">
                    <a:shade val="30000"/>
                    <a:satMod val="115000"/>
                  </a:srgbClr>
                </a:gs>
                <a:gs pos="50000">
                  <a:srgbClr val="F58A1F">
                    <a:shade val="67500"/>
                    <a:satMod val="115000"/>
                  </a:srgbClr>
                </a:gs>
                <a:gs pos="100000">
                  <a:srgbClr val="F58A1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0" name="Круговая стрелка 59"/>
            <p:cNvSpPr/>
            <p:nvPr/>
          </p:nvSpPr>
          <p:spPr>
            <a:xfrm rot="18900000">
              <a:off x="3503553" y="4505125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3652786" y="4656208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</a:t>
              </a:r>
              <a:r>
                <a:rPr lang="ru-RU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2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8911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51837" y="2340918"/>
            <a:ext cx="564032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dirty="0" smtClean="0">
                <a:solidFill>
                  <a:srgbClr val="008C95"/>
                </a:solidFill>
              </a:rPr>
              <a:t>Из чего состоит полимерная гранула?</a:t>
            </a:r>
            <a:endParaRPr lang="ru-RU" sz="2400" dirty="0">
              <a:solidFill>
                <a:srgbClr val="008C95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840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02542" y="217890"/>
            <a:ext cx="8481695" cy="474379"/>
          </a:xfrm>
        </p:spPr>
        <p:txBody>
          <a:bodyPr/>
          <a:lstStyle/>
          <a:p>
            <a:r>
              <a:rPr lang="ru-RU" dirty="0" smtClean="0"/>
              <a:t>Дифференциальная сканирующая калориметрия (ДСК)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411510"/>
            <a:ext cx="2314685" cy="2133924"/>
          </a:xfrm>
          <a:prstGeom prst="rect">
            <a:avLst/>
          </a:prstGeom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251520" y="555526"/>
          <a:ext cx="5993705" cy="223456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6465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71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Определяемые характеристики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Оцениваемый параметр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24">
                <a:tc rowSpan="5">
                  <a:txBody>
                    <a:bodyPr/>
                    <a:lstStyle/>
                    <a:p>
                      <a:pPr algn="ctr"/>
                      <a:endParaRPr lang="en-US" sz="1050" dirty="0" smtClean="0"/>
                    </a:p>
                    <a:p>
                      <a:endParaRPr lang="ru-RU" sz="1050" dirty="0" smtClean="0"/>
                    </a:p>
                    <a:p>
                      <a:endParaRPr lang="ru-RU" sz="1050" dirty="0" smtClean="0"/>
                    </a:p>
                    <a:p>
                      <a:pPr algn="ctr"/>
                      <a:r>
                        <a:rPr lang="ru-RU" sz="1200" dirty="0" smtClean="0"/>
                        <a:t>Термодинамические характеристик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Температуры</a:t>
                      </a:r>
                      <a:r>
                        <a:rPr lang="ru-RU" sz="1050" baseline="0" dirty="0" smtClean="0"/>
                        <a:t> плавления, кристаллизации, стеклования, кристаллично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6024">
                <a:tc vMerge="1">
                  <a:txBody>
                    <a:bodyPr/>
                    <a:lstStyle/>
                    <a:p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Термическая история образц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6024">
                <a:tc vMerge="1">
                  <a:txBody>
                    <a:bodyPr/>
                    <a:lstStyle/>
                    <a:p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Идентификация полимера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24">
                <a:tc vMerge="1">
                  <a:txBody>
                    <a:bodyPr/>
                    <a:lstStyle/>
                    <a:p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err="1" smtClean="0"/>
                        <a:t>Нуклеирующие</a:t>
                      </a:r>
                      <a:r>
                        <a:rPr lang="ru-RU" sz="1050" dirty="0" smtClean="0"/>
                        <a:t> добавки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0284">
                <a:tc vMerge="1">
                  <a:txBody>
                    <a:bodyPr/>
                    <a:lstStyle/>
                    <a:p>
                      <a:endParaRPr lang="ru-RU" sz="105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Качественный</a:t>
                      </a:r>
                      <a:r>
                        <a:rPr lang="ru-RU" sz="1050" baseline="0" dirty="0" smtClean="0"/>
                        <a:t> состав смесей (есть ограничения)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OIT</a:t>
                      </a:r>
                      <a:r>
                        <a:rPr lang="ru-RU" sz="1200" dirty="0" smtClean="0"/>
                        <a:t> (время окислительной индукции)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/>
                        <a:t>Оценка содержания активных форм антиоксидантов</a:t>
                      </a:r>
                      <a:endParaRPr lang="ru-RU" sz="105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227010" y="2862777"/>
            <a:ext cx="303138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9025">
              <a:defRPr/>
            </a:pPr>
            <a:r>
              <a:rPr lang="ru-RU" sz="1200" dirty="0"/>
              <a:t>Если в образце происходят изменения, связанные с поглощением или выделением тепла, сенсоры регистрируют и измеряют их, на кривых ДСК наблюдаются отклонения в виде экзо- и эндотермических пиков или ступеней и </a:t>
            </a:r>
            <a:r>
              <a:rPr lang="ru-RU" sz="1200" dirty="0" smtClean="0"/>
              <a:t>образуется динамическая </a:t>
            </a:r>
            <a:r>
              <a:rPr lang="ru-RU" sz="1200" dirty="0"/>
              <a:t>или </a:t>
            </a:r>
            <a:r>
              <a:rPr lang="ru-RU" sz="1200" dirty="0" smtClean="0"/>
              <a:t>изотермическая  дифференциальная кривая </a:t>
            </a:r>
            <a:r>
              <a:rPr lang="ru-RU" sz="1200" dirty="0"/>
              <a:t>теплового потока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427512" y="2888368"/>
            <a:ext cx="2808349" cy="1598170"/>
            <a:chOff x="2299475" y="1376485"/>
            <a:chExt cx="4868799" cy="2804160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1760" y="1376485"/>
              <a:ext cx="4572000" cy="2804160"/>
            </a:xfrm>
            <a:prstGeom prst="rect">
              <a:avLst/>
            </a:prstGeom>
          </p:spPr>
        </p:pic>
        <p:grpSp>
          <p:nvGrpSpPr>
            <p:cNvPr id="14" name="Группа 13"/>
            <p:cNvGrpSpPr/>
            <p:nvPr/>
          </p:nvGrpSpPr>
          <p:grpSpPr>
            <a:xfrm>
              <a:off x="2411760" y="2086181"/>
              <a:ext cx="946840" cy="461530"/>
              <a:chOff x="-1415400" y="1995686"/>
              <a:chExt cx="946840" cy="461530"/>
            </a:xfrm>
          </p:grpSpPr>
          <p:pic>
            <p:nvPicPr>
              <p:cNvPr id="3" name="Рисунок 2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213" b="90374"/>
              <a:stretch/>
            </p:blipFill>
            <p:spPr>
              <a:xfrm>
                <a:off x="-1332655" y="1995686"/>
                <a:ext cx="792088" cy="432048"/>
              </a:xfrm>
              <a:prstGeom prst="rect">
                <a:avLst/>
              </a:prstGeom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-1415400" y="2011693"/>
                <a:ext cx="946840" cy="4455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050" b="1" dirty="0" smtClean="0">
                    <a:solidFill>
                      <a:schemeClr val="accent6">
                        <a:lumMod val="50000"/>
                      </a:schemeClr>
                    </a:solidFill>
                  </a:rPr>
                  <a:t>Печь</a:t>
                </a:r>
                <a:endParaRPr lang="ru-RU" sz="1050" b="1" dirty="0">
                  <a:solidFill>
                    <a:schemeClr val="accent6">
                      <a:lumMod val="50000"/>
                    </a:schemeClr>
                  </a:solidFill>
                </a:endParaRPr>
              </a:p>
            </p:txBody>
          </p:sp>
        </p:grpSp>
        <p:grpSp>
          <p:nvGrpSpPr>
            <p:cNvPr id="17" name="Группа 16"/>
            <p:cNvGrpSpPr/>
            <p:nvPr/>
          </p:nvGrpSpPr>
          <p:grpSpPr>
            <a:xfrm>
              <a:off x="6104110" y="2545434"/>
              <a:ext cx="1064164" cy="432048"/>
              <a:chOff x="-1348210" y="1995686"/>
              <a:chExt cx="1064164" cy="432048"/>
            </a:xfrm>
          </p:grpSpPr>
          <p:pic>
            <p:nvPicPr>
              <p:cNvPr id="18" name="Рисунок 17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213" b="90374"/>
              <a:stretch/>
            </p:blipFill>
            <p:spPr>
              <a:xfrm>
                <a:off x="-1332655" y="1995686"/>
                <a:ext cx="792088" cy="432048"/>
              </a:xfrm>
              <a:prstGeom prst="rect">
                <a:avLst/>
              </a:prstGeom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-1348210" y="2011693"/>
                <a:ext cx="1064164" cy="3510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00" dirty="0" smtClean="0"/>
                  <a:t>Образец</a:t>
                </a:r>
                <a:endParaRPr lang="ru-RU" sz="700" dirty="0"/>
              </a:p>
            </p:txBody>
          </p:sp>
        </p:grpSp>
        <p:grpSp>
          <p:nvGrpSpPr>
            <p:cNvPr id="20" name="Группа 19"/>
            <p:cNvGrpSpPr/>
            <p:nvPr/>
          </p:nvGrpSpPr>
          <p:grpSpPr>
            <a:xfrm>
              <a:off x="2299475" y="2697834"/>
              <a:ext cx="1145550" cy="556035"/>
              <a:chOff x="-1614110" y="1995686"/>
              <a:chExt cx="1145550" cy="556035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4213" b="90374"/>
              <a:stretch/>
            </p:blipFill>
            <p:spPr>
              <a:xfrm>
                <a:off x="-1332655" y="1995686"/>
                <a:ext cx="792088" cy="432048"/>
              </a:xfrm>
              <a:prstGeom prst="rect">
                <a:avLst/>
              </a:prstGeom>
            </p:spPr>
          </p:pic>
          <p:sp>
            <p:nvSpPr>
              <p:cNvPr id="22" name="TextBox 21"/>
              <p:cNvSpPr txBox="1"/>
              <p:nvPr/>
            </p:nvSpPr>
            <p:spPr>
              <a:xfrm>
                <a:off x="-1614110" y="2011693"/>
                <a:ext cx="1145550" cy="5400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700" dirty="0" smtClean="0"/>
                  <a:t>Образец сравнения</a:t>
                </a:r>
                <a:endParaRPr lang="ru-RU" sz="700" dirty="0"/>
              </a:p>
            </p:txBody>
          </p:sp>
        </p:grpSp>
      </p:grpSp>
      <p:grpSp>
        <p:nvGrpSpPr>
          <p:cNvPr id="24" name="Группа 23"/>
          <p:cNvGrpSpPr/>
          <p:nvPr/>
        </p:nvGrpSpPr>
        <p:grpSpPr>
          <a:xfrm>
            <a:off x="6254197" y="2715766"/>
            <a:ext cx="2710291" cy="1985226"/>
            <a:chOff x="6306460" y="2605042"/>
            <a:chExt cx="2549974" cy="1573003"/>
          </a:xfrm>
        </p:grpSpPr>
        <p:pic>
          <p:nvPicPr>
            <p:cNvPr id="25" name="Рисунок 2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73" t="4178" r="-1"/>
            <a:stretch/>
          </p:blipFill>
          <p:spPr>
            <a:xfrm>
              <a:off x="6306460" y="2605042"/>
              <a:ext cx="2549974" cy="1573003"/>
            </a:xfrm>
            <a:prstGeom prst="rect">
              <a:avLst/>
            </a:prstGeom>
          </p:spPr>
        </p:pic>
        <p:sp>
          <p:nvSpPr>
            <p:cNvPr id="26" name="TextBox 25"/>
            <p:cNvSpPr txBox="1"/>
            <p:nvPr/>
          </p:nvSpPr>
          <p:spPr>
            <a:xfrm>
              <a:off x="7760473" y="2605043"/>
              <a:ext cx="225299" cy="2237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/>
                <a:t>Tc</a:t>
              </a:r>
              <a:endParaRPr lang="ru-RU" sz="1000" dirty="0"/>
            </a:p>
          </p:txBody>
        </p:sp>
        <p:cxnSp>
          <p:nvCxnSpPr>
            <p:cNvPr id="27" name="Прямая соединительная линия 26"/>
            <p:cNvCxnSpPr/>
            <p:nvPr/>
          </p:nvCxnSpPr>
          <p:spPr bwMode="auto">
            <a:xfrm flipV="1">
              <a:off x="7482177" y="2777844"/>
              <a:ext cx="278296" cy="13849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Прямая соединительная линия 27"/>
            <p:cNvCxnSpPr/>
            <p:nvPr/>
          </p:nvCxnSpPr>
          <p:spPr bwMode="auto">
            <a:xfrm flipH="1" flipV="1">
              <a:off x="7621325" y="3665551"/>
              <a:ext cx="576470" cy="32164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" name="TextBox 28"/>
            <p:cNvSpPr txBox="1"/>
            <p:nvPr/>
          </p:nvSpPr>
          <p:spPr>
            <a:xfrm>
              <a:off x="7278435" y="3495245"/>
              <a:ext cx="255087" cy="2237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/>
                <a:t>Tm</a:t>
              </a:r>
              <a:endParaRPr lang="ru-RU" sz="1000" dirty="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7621325" y="2861210"/>
              <a:ext cx="274946" cy="2237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00" dirty="0"/>
                <a:t>∆</a:t>
              </a:r>
              <a:r>
                <a:rPr lang="en-US" sz="1000" dirty="0" err="1"/>
                <a:t>H</a:t>
              </a:r>
              <a:r>
                <a:rPr lang="en-US" sz="1000" baseline="-25000" dirty="0" err="1"/>
                <a:t>c</a:t>
              </a:r>
              <a:endParaRPr lang="ru-RU" sz="1000" dirty="0"/>
            </a:p>
          </p:txBody>
        </p:sp>
        <p:cxnSp>
          <p:nvCxnSpPr>
            <p:cNvPr id="31" name="Прямая соединительная линия 30"/>
            <p:cNvCxnSpPr/>
            <p:nvPr/>
          </p:nvCxnSpPr>
          <p:spPr bwMode="auto">
            <a:xfrm flipH="1">
              <a:off x="7482177" y="3054842"/>
              <a:ext cx="203742" cy="302414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Прямоугольник 31"/>
            <p:cNvSpPr/>
            <p:nvPr/>
          </p:nvSpPr>
          <p:spPr>
            <a:xfrm>
              <a:off x="8197795" y="3549376"/>
              <a:ext cx="505250" cy="2101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 smtClean="0"/>
                <a:t>∆</a:t>
              </a:r>
              <a:r>
                <a:rPr lang="en-US" sz="1000" dirty="0" err="1"/>
                <a:t>H</a:t>
              </a:r>
              <a:r>
                <a:rPr lang="en-US" sz="1000" baseline="-25000" dirty="0" err="1" smtClean="0"/>
                <a:t>m</a:t>
              </a:r>
              <a:endParaRPr lang="ru-RU" sz="1000" baseline="-25000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819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690" y="749270"/>
            <a:ext cx="3830278" cy="205437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Дифференциальная сканирующая калориметрия </a:t>
            </a:r>
            <a:br>
              <a:rPr lang="ru-RU" dirty="0" smtClean="0"/>
            </a:br>
            <a:r>
              <a:rPr lang="ru-RU" dirty="0" smtClean="0"/>
              <a:t>(характеристические температуры)</a:t>
            </a: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5456" y="2711309"/>
            <a:ext cx="3515866" cy="191684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0437" y="880073"/>
            <a:ext cx="4020619" cy="19584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341653" y="813960"/>
            <a:ext cx="72006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DPE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7740352" y="756717"/>
            <a:ext cx="79541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LDPE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5547490" y="2770609"/>
            <a:ext cx="68800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</a:t>
            </a:r>
            <a:r>
              <a:rPr lang="en-US" dirty="0" smtClean="0"/>
              <a:t>DPE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7693389" y="987548"/>
            <a:ext cx="122413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c - 105°C</a:t>
            </a:r>
          </a:p>
          <a:p>
            <a:r>
              <a:rPr lang="ru-RU" sz="1200" dirty="0" smtClean="0"/>
              <a:t>Т</a:t>
            </a:r>
            <a:r>
              <a:rPr lang="en-US" sz="1200" dirty="0" smtClean="0"/>
              <a:t>m - 122°C,</a:t>
            </a:r>
          </a:p>
          <a:p>
            <a:r>
              <a:rPr lang="en-US" sz="1200" dirty="0" smtClean="0"/>
              <a:t>T</a:t>
            </a:r>
            <a:r>
              <a:rPr lang="ru-RU" sz="800" dirty="0" smtClean="0"/>
              <a:t>перегиб - </a:t>
            </a:r>
            <a:r>
              <a:rPr lang="ru-RU" sz="1200" dirty="0" smtClean="0"/>
              <a:t>109</a:t>
            </a:r>
            <a:r>
              <a:rPr lang="en-US" sz="1200" dirty="0"/>
              <a:t>°C</a:t>
            </a:r>
            <a:endParaRPr lang="en-US" sz="1200" dirty="0" smtClean="0"/>
          </a:p>
          <a:p>
            <a:r>
              <a:rPr lang="en-US" sz="1200" dirty="0" err="1" smtClean="0"/>
              <a:t>Xc</a:t>
            </a:r>
            <a:r>
              <a:rPr lang="en-US" sz="1200" dirty="0" smtClean="0"/>
              <a:t> – </a:t>
            </a:r>
            <a:r>
              <a:rPr lang="ru-RU" sz="1200" dirty="0" smtClean="0"/>
              <a:t>39</a:t>
            </a:r>
            <a:r>
              <a:rPr lang="en-US" sz="1200" dirty="0" smtClean="0"/>
              <a:t> %</a:t>
            </a:r>
            <a:endParaRPr lang="ru-RU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5514698" y="3023399"/>
            <a:ext cx="1008112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c - 94°C</a:t>
            </a:r>
          </a:p>
          <a:p>
            <a:r>
              <a:rPr lang="ru-RU" sz="1200" dirty="0" smtClean="0"/>
              <a:t>Т</a:t>
            </a:r>
            <a:r>
              <a:rPr lang="en-US" sz="1200" dirty="0" smtClean="0"/>
              <a:t>m - 1</a:t>
            </a:r>
            <a:r>
              <a:rPr lang="ru-RU" sz="1200" dirty="0" smtClean="0"/>
              <a:t>08</a:t>
            </a:r>
            <a:r>
              <a:rPr lang="en-US" sz="1200" dirty="0" smtClean="0"/>
              <a:t>°C</a:t>
            </a:r>
          </a:p>
          <a:p>
            <a:r>
              <a:rPr lang="en-US" sz="1200" dirty="0" err="1" smtClean="0"/>
              <a:t>Xc</a:t>
            </a:r>
            <a:r>
              <a:rPr lang="en-US" sz="1200" dirty="0" smtClean="0"/>
              <a:t> – </a:t>
            </a:r>
            <a:r>
              <a:rPr lang="ru-RU" sz="1200" dirty="0" smtClean="0"/>
              <a:t>38</a:t>
            </a:r>
            <a:r>
              <a:rPr lang="en-US" sz="1200" dirty="0" smtClean="0"/>
              <a:t> %</a:t>
            </a:r>
            <a:endParaRPr lang="ru-RU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3334703" y="1079882"/>
            <a:ext cx="108012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c - 113°C</a:t>
            </a:r>
            <a:endParaRPr lang="en-US" sz="1200" dirty="0"/>
          </a:p>
          <a:p>
            <a:r>
              <a:rPr lang="ru-RU" sz="1200" dirty="0" smtClean="0"/>
              <a:t>Т</a:t>
            </a:r>
            <a:r>
              <a:rPr lang="en-US" sz="1200" dirty="0" smtClean="0"/>
              <a:t>m - 134°C</a:t>
            </a:r>
          </a:p>
          <a:p>
            <a:r>
              <a:rPr lang="en-US" sz="1200" dirty="0" err="1" smtClean="0"/>
              <a:t>Xc</a:t>
            </a:r>
            <a:r>
              <a:rPr lang="en-US" sz="1200" dirty="0" smtClean="0"/>
              <a:t> – 77 %</a:t>
            </a:r>
            <a:endParaRPr lang="ru-RU" sz="12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9035" y="1097436"/>
            <a:ext cx="1752480" cy="61121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9210" y="717100"/>
            <a:ext cx="1760475" cy="101319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81727" y="2945948"/>
            <a:ext cx="1852202" cy="144207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5817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t="3334"/>
          <a:stretch/>
        </p:blipFill>
        <p:spPr>
          <a:xfrm>
            <a:off x="251520" y="726774"/>
            <a:ext cx="3672408" cy="191698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Дифференциальная сканирующая калориметрия </a:t>
            </a:r>
            <a:br>
              <a:rPr lang="ru-RU" dirty="0" smtClean="0"/>
            </a:br>
            <a:r>
              <a:rPr lang="ru-RU" dirty="0" smtClean="0"/>
              <a:t>(характеристические температуры)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5976" y="599769"/>
            <a:ext cx="4005750" cy="218098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989" y="2726201"/>
            <a:ext cx="3366043" cy="178915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133984" y="799430"/>
            <a:ext cx="58060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PH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7148101" y="782430"/>
            <a:ext cx="105990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PB (PPI)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133984" y="2726200"/>
            <a:ext cx="58060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PR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50734" y="2705180"/>
            <a:ext cx="4010992" cy="188355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7266513" y="2705180"/>
            <a:ext cx="105990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PB (PPI)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7738512" y="1038935"/>
            <a:ext cx="1405488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c - 121°C</a:t>
            </a:r>
          </a:p>
          <a:p>
            <a:r>
              <a:rPr lang="ru-RU" sz="1200" dirty="0" smtClean="0"/>
              <a:t>Т</a:t>
            </a:r>
            <a:r>
              <a:rPr lang="en-US" sz="1200" dirty="0" smtClean="0"/>
              <a:t>m - 167°C</a:t>
            </a:r>
            <a:endParaRPr lang="ru-RU" sz="1200" dirty="0" smtClean="0"/>
          </a:p>
          <a:p>
            <a:r>
              <a:rPr lang="en-US" sz="1200" dirty="0" smtClean="0"/>
              <a:t>Tm</a:t>
            </a:r>
            <a:r>
              <a:rPr lang="ru-RU" sz="800" dirty="0" smtClean="0"/>
              <a:t> (</a:t>
            </a:r>
            <a:r>
              <a:rPr lang="ru-RU" sz="800" dirty="0" err="1" smtClean="0"/>
              <a:t>доп.пик</a:t>
            </a:r>
            <a:r>
              <a:rPr lang="ru-RU" sz="800" dirty="0" smtClean="0"/>
              <a:t>)</a:t>
            </a:r>
            <a:r>
              <a:rPr lang="ru-RU" sz="1200" dirty="0" smtClean="0"/>
              <a:t> </a:t>
            </a:r>
            <a:r>
              <a:rPr lang="ru-RU" sz="1200" dirty="0"/>
              <a:t>- </a:t>
            </a:r>
            <a:r>
              <a:rPr lang="ru-RU" sz="1200" dirty="0" smtClean="0"/>
              <a:t>1</a:t>
            </a:r>
            <a:r>
              <a:rPr lang="en-US" sz="1200" dirty="0" smtClean="0"/>
              <a:t>17°C</a:t>
            </a:r>
            <a:endParaRPr lang="en-US" sz="1200" dirty="0"/>
          </a:p>
          <a:p>
            <a:r>
              <a:rPr lang="en-US" sz="1200" dirty="0" err="1" smtClean="0"/>
              <a:t>Xc</a:t>
            </a:r>
            <a:r>
              <a:rPr lang="en-US" sz="1200" dirty="0" smtClean="0"/>
              <a:t> – </a:t>
            </a:r>
            <a:r>
              <a:rPr lang="ru-RU" sz="1200" dirty="0" smtClean="0"/>
              <a:t>38</a:t>
            </a:r>
            <a:r>
              <a:rPr lang="en-US" sz="1200" dirty="0" smtClean="0"/>
              <a:t> %</a:t>
            </a:r>
            <a:endParaRPr lang="ru-RU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7623675" y="3118506"/>
            <a:ext cx="140548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Т</a:t>
            </a:r>
            <a:r>
              <a:rPr lang="en-US" sz="1200" dirty="0" smtClean="0"/>
              <a:t>g – </a:t>
            </a:r>
            <a:r>
              <a:rPr lang="ru-RU" sz="1200" dirty="0" smtClean="0"/>
              <a:t>минус 37°С</a:t>
            </a:r>
            <a:endParaRPr lang="ru-RU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2915816" y="1090183"/>
            <a:ext cx="122413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c - 119°C</a:t>
            </a:r>
          </a:p>
          <a:p>
            <a:r>
              <a:rPr lang="ru-RU" sz="1200" dirty="0" smtClean="0"/>
              <a:t>Т</a:t>
            </a:r>
            <a:r>
              <a:rPr lang="en-US" sz="1200" dirty="0" smtClean="0"/>
              <a:t>m - 16</a:t>
            </a:r>
            <a:r>
              <a:rPr lang="ru-RU" sz="1200" dirty="0" smtClean="0"/>
              <a:t>3</a:t>
            </a:r>
            <a:r>
              <a:rPr lang="en-US" sz="1200" dirty="0" smtClean="0"/>
              <a:t>°C</a:t>
            </a:r>
            <a:endParaRPr lang="ru-RU" sz="1200" dirty="0" smtClean="0"/>
          </a:p>
          <a:p>
            <a:r>
              <a:rPr lang="en-US" sz="1200" dirty="0" err="1" smtClean="0"/>
              <a:t>Xc</a:t>
            </a:r>
            <a:r>
              <a:rPr lang="en-US" sz="1200" dirty="0" smtClean="0"/>
              <a:t> – </a:t>
            </a:r>
            <a:r>
              <a:rPr lang="ru-RU" sz="1200" dirty="0" smtClean="0"/>
              <a:t>53</a:t>
            </a:r>
            <a:r>
              <a:rPr lang="en-US" sz="1200" dirty="0" smtClean="0"/>
              <a:t> %</a:t>
            </a:r>
            <a:endParaRPr lang="ru-RU" sz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2808527" y="3028345"/>
            <a:ext cx="122413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c - 105°</a:t>
            </a:r>
            <a:endParaRPr lang="ru-RU" sz="1200" dirty="0" smtClean="0"/>
          </a:p>
          <a:p>
            <a:r>
              <a:rPr lang="ru-RU" sz="1200" dirty="0" smtClean="0"/>
              <a:t>Т</a:t>
            </a:r>
            <a:r>
              <a:rPr lang="en-US" sz="1200" dirty="0" smtClean="0"/>
              <a:t>m - 1</a:t>
            </a:r>
            <a:r>
              <a:rPr lang="ru-RU" sz="1200" dirty="0" smtClean="0"/>
              <a:t>43</a:t>
            </a:r>
            <a:r>
              <a:rPr lang="en-US" sz="1200" dirty="0" smtClean="0"/>
              <a:t>°C</a:t>
            </a:r>
            <a:endParaRPr lang="ru-RU" sz="1200" dirty="0" smtClean="0"/>
          </a:p>
          <a:p>
            <a:r>
              <a:rPr lang="en-US" sz="1200" dirty="0" err="1" smtClean="0"/>
              <a:t>Xc</a:t>
            </a:r>
            <a:r>
              <a:rPr lang="en-US" sz="1200" dirty="0" smtClean="0"/>
              <a:t> – </a:t>
            </a:r>
            <a:r>
              <a:rPr lang="ru-RU" sz="1200" dirty="0" smtClean="0"/>
              <a:t>39</a:t>
            </a:r>
            <a:r>
              <a:rPr lang="en-US" sz="1200" dirty="0" smtClean="0"/>
              <a:t> %</a:t>
            </a:r>
            <a:endParaRPr lang="ru-RU" sz="12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801" y="1281681"/>
            <a:ext cx="1410741" cy="42737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7052" y="3133542"/>
            <a:ext cx="1344038" cy="35107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64828" y="689473"/>
            <a:ext cx="1731977" cy="975348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630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прос: какие полимеры на графике?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/>
          <a:srcRect l="427" t="1151" r="1" b="1"/>
          <a:stretch/>
        </p:blipFill>
        <p:spPr>
          <a:xfrm>
            <a:off x="824546" y="627534"/>
            <a:ext cx="7637685" cy="367240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652120" y="3579862"/>
            <a:ext cx="93610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131°С</a:t>
            </a:r>
            <a:endParaRPr lang="ru-RU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094804" y="3148975"/>
            <a:ext cx="1134566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1400" b="1" dirty="0" smtClean="0"/>
          </a:p>
          <a:p>
            <a:r>
              <a:rPr lang="ru-RU" sz="1400" b="1" dirty="0" smtClean="0"/>
              <a:t>164°С</a:t>
            </a:r>
          </a:p>
          <a:p>
            <a:endParaRPr lang="ru-RU" sz="14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3588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9512" y="73174"/>
            <a:ext cx="8481695" cy="252672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Дифференциальная сканирующая калориметрия</a:t>
            </a:r>
            <a:r>
              <a:rPr lang="en-US" dirty="0" smtClean="0"/>
              <a:t> (</a:t>
            </a:r>
            <a:r>
              <a:rPr lang="ru-RU" dirty="0" smtClean="0"/>
              <a:t>идентификация полимера)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82669" y="439203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u="sng" dirty="0" smtClean="0">
                <a:solidFill>
                  <a:srgbClr val="E20000"/>
                </a:solidFill>
              </a:rPr>
              <a:t>Проблема: изменение геометрии готового изделия</a:t>
            </a:r>
            <a:endParaRPr lang="en-US" sz="1200" u="sng" dirty="0" smtClean="0">
              <a:solidFill>
                <a:srgbClr val="E20000"/>
              </a:solidFill>
            </a:endParaRPr>
          </a:p>
          <a:p>
            <a:r>
              <a:rPr lang="ru-RU" sz="1200" u="sng" dirty="0" smtClean="0">
                <a:solidFill>
                  <a:srgbClr val="E20000"/>
                </a:solidFill>
              </a:rPr>
              <a:t>Материал</a:t>
            </a:r>
            <a:r>
              <a:rPr lang="ru-RU" sz="1200" u="sng" dirty="0">
                <a:solidFill>
                  <a:srgbClr val="E20000"/>
                </a:solidFill>
              </a:rPr>
              <a:t>: </a:t>
            </a:r>
            <a:r>
              <a:rPr lang="en-US" sz="1200" u="sng" dirty="0" smtClean="0">
                <a:solidFill>
                  <a:srgbClr val="E20000"/>
                </a:solidFill>
              </a:rPr>
              <a:t>LLDPE</a:t>
            </a:r>
            <a:endParaRPr lang="en-US" sz="1200" u="sng" dirty="0">
              <a:solidFill>
                <a:srgbClr val="E20000"/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/>
          </p:nvPr>
        </p:nvGraphicFramePr>
        <p:xfrm>
          <a:off x="179512" y="933508"/>
          <a:ext cx="4032448" cy="2560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12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49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45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98082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/>
                        <a:t>Термодинамические характеристики образцов изделий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170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Показатель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Изделие</a:t>
                      </a:r>
                      <a:r>
                        <a:rPr lang="ru-RU" sz="1200" baseline="0" dirty="0" smtClean="0"/>
                        <a:t> сравнени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Изделие претензионное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170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Температура</a:t>
                      </a:r>
                      <a:r>
                        <a:rPr lang="ru-RU" sz="1200" baseline="0" dirty="0" smtClean="0"/>
                        <a:t> 2-го плавления, °С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0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22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905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Доп.</a:t>
                      </a:r>
                      <a:r>
                        <a:rPr lang="ru-RU" sz="1200" baseline="0" dirty="0" smtClean="0"/>
                        <a:t> пики на кривой 2-ого плавления, °С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-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61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1981"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T</a:t>
                      </a:r>
                      <a:r>
                        <a:rPr lang="en-US" sz="1200" baseline="-25000" dirty="0" smtClean="0"/>
                        <a:t>c</a:t>
                      </a:r>
                      <a:r>
                        <a:rPr lang="en-US" sz="1200" dirty="0" smtClean="0"/>
                        <a:t>,</a:t>
                      </a:r>
                      <a:r>
                        <a:rPr lang="en-US" sz="1200" baseline="0" dirty="0" smtClean="0"/>
                        <a:t> °C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8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2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2521"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лимерный состав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LDPE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LDPE</a:t>
                      </a:r>
                      <a:r>
                        <a:rPr lang="ru-RU" sz="1200" dirty="0" smtClean="0"/>
                        <a:t> +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en-US" sz="1200" baseline="0" dirty="0" smtClean="0"/>
                        <a:t>PP (</a:t>
                      </a:r>
                      <a:r>
                        <a:rPr lang="ru-RU" sz="1200" dirty="0" smtClean="0"/>
                        <a:t>≈</a:t>
                      </a:r>
                      <a:r>
                        <a:rPr lang="en-US" sz="1200" dirty="0" smtClean="0"/>
                        <a:t>2-3%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95328" y="3776060"/>
            <a:ext cx="57663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/>
              <a:t>Изделия изготовлены из линейного полиэтилена низкой плотности, однако в претензионном обнаружен также </a:t>
            </a:r>
            <a:r>
              <a:rPr lang="ru-RU" sz="1200" dirty="0" err="1" smtClean="0"/>
              <a:t>гомополипропилен</a:t>
            </a:r>
            <a:r>
              <a:rPr lang="ru-RU" sz="1200" dirty="0" smtClean="0"/>
              <a:t>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558" r="-1" b="226"/>
          <a:stretch/>
        </p:blipFill>
        <p:spPr>
          <a:xfrm>
            <a:off x="4299288" y="343049"/>
            <a:ext cx="4645494" cy="2628502"/>
          </a:xfrm>
          <a:prstGeom prst="rect">
            <a:avLst/>
          </a:prstGeom>
        </p:spPr>
      </p:pic>
      <p:grpSp>
        <p:nvGrpSpPr>
          <p:cNvPr id="21" name="Группа 20"/>
          <p:cNvGrpSpPr/>
          <p:nvPr/>
        </p:nvGrpSpPr>
        <p:grpSpPr>
          <a:xfrm>
            <a:off x="6149326" y="2999978"/>
            <a:ext cx="1306818" cy="1620903"/>
            <a:chOff x="4051605" y="987574"/>
            <a:chExt cx="1384490" cy="1620903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62" t="15982" r="-1" b="34931"/>
            <a:stretch/>
          </p:blipFill>
          <p:spPr>
            <a:xfrm rot="10800000">
              <a:off x="4051605" y="987574"/>
              <a:ext cx="1384490" cy="1620903"/>
            </a:xfrm>
            <a:prstGeom prst="rect">
              <a:avLst/>
            </a:prstGeom>
          </p:spPr>
        </p:pic>
        <p:sp>
          <p:nvSpPr>
            <p:cNvPr id="23" name="TextBox 22"/>
            <p:cNvSpPr txBox="1"/>
            <p:nvPr/>
          </p:nvSpPr>
          <p:spPr>
            <a:xfrm>
              <a:off x="4051608" y="2134646"/>
              <a:ext cx="13844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изделие претензионное</a:t>
              </a: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7743784" y="3003798"/>
            <a:ext cx="1200998" cy="1617083"/>
            <a:chOff x="7304696" y="829616"/>
            <a:chExt cx="1118084" cy="1617083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7" t="13343" r="71960" b="37686"/>
            <a:stretch/>
          </p:blipFill>
          <p:spPr>
            <a:xfrm rot="10800000">
              <a:off x="7304696" y="829616"/>
              <a:ext cx="1118084" cy="1617083"/>
            </a:xfrm>
            <a:prstGeom prst="rect">
              <a:avLst/>
            </a:prstGeom>
          </p:spPr>
        </p:pic>
        <p:sp>
          <p:nvSpPr>
            <p:cNvPr id="28" name="TextBox 27"/>
            <p:cNvSpPr txBox="1"/>
            <p:nvPr/>
          </p:nvSpPr>
          <p:spPr>
            <a:xfrm>
              <a:off x="7314982" y="1972869"/>
              <a:ext cx="87462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изделие </a:t>
              </a:r>
              <a:r>
                <a:rPr lang="ru-RU" sz="1200" dirty="0" smtClean="0">
                  <a:solidFill>
                    <a:schemeClr val="accent1">
                      <a:lumMod val="60000"/>
                      <a:lumOff val="40000"/>
                    </a:schemeClr>
                  </a:solidFill>
                </a:rPr>
                <a:t>сравнения</a:t>
              </a:r>
              <a:endParaRPr lang="ru-RU" sz="1200" dirty="0">
                <a:solidFill>
                  <a:schemeClr val="accent1">
                    <a:lumMod val="60000"/>
                    <a:lumOff val="40000"/>
                  </a:schemeClr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3161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Дифференциальная сканирующая калориметрия</a:t>
            </a:r>
            <a:br>
              <a:rPr lang="ru-RU" dirty="0" smtClean="0"/>
            </a:br>
            <a:r>
              <a:rPr lang="ru-RU" dirty="0" smtClean="0"/>
              <a:t>(эффект </a:t>
            </a:r>
            <a:r>
              <a:rPr lang="ru-RU" dirty="0" err="1" smtClean="0"/>
              <a:t>нуклеатора</a:t>
            </a:r>
            <a:r>
              <a:rPr lang="ru-RU" dirty="0"/>
              <a:t>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5776" y="621110"/>
            <a:ext cx="4144235" cy="238480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49555"/>
          <a:stretch/>
        </p:blipFill>
        <p:spPr>
          <a:xfrm>
            <a:off x="402542" y="2139702"/>
            <a:ext cx="2345610" cy="154766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r="51678" b="-4653"/>
          <a:stretch/>
        </p:blipFill>
        <p:spPr>
          <a:xfrm rot="10800000">
            <a:off x="6746106" y="2139702"/>
            <a:ext cx="2246902" cy="1619676"/>
          </a:xfrm>
          <a:prstGeom prst="rect">
            <a:avLst/>
          </a:prstGeom>
        </p:spPr>
      </p:pic>
      <p:cxnSp>
        <p:nvCxnSpPr>
          <p:cNvPr id="14" name="Прямая со стрелкой 13"/>
          <p:cNvCxnSpPr/>
          <p:nvPr/>
        </p:nvCxnSpPr>
        <p:spPr bwMode="auto">
          <a:xfrm>
            <a:off x="5580112" y="1882155"/>
            <a:ext cx="1800200" cy="144016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 bwMode="auto">
          <a:xfrm flipH="1">
            <a:off x="2123728" y="1923678"/>
            <a:ext cx="2088232" cy="144016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915816" y="3289915"/>
            <a:ext cx="41044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Добавление </a:t>
            </a:r>
            <a:r>
              <a:rPr lang="ru-RU" sz="1200" dirty="0" err="1" smtClean="0"/>
              <a:t>нуклеатора</a:t>
            </a:r>
            <a:r>
              <a:rPr lang="ru-RU" sz="1200" dirty="0" smtClean="0"/>
              <a:t> приводит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 smtClean="0"/>
              <a:t>К увеличению температуры кристаллизации 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Улучшению прозрачности </a:t>
            </a:r>
            <a:r>
              <a:rPr lang="ru-RU" sz="1200" dirty="0"/>
              <a:t>☺</a:t>
            </a: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smtClean="0"/>
              <a:t>Ускорению цикла при переработке ☺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5862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1374" y="170397"/>
            <a:ext cx="8481695" cy="474379"/>
          </a:xfrm>
        </p:spPr>
        <p:txBody>
          <a:bodyPr/>
          <a:lstStyle/>
          <a:p>
            <a:r>
              <a:rPr lang="ru-RU" dirty="0" smtClean="0"/>
              <a:t>Инфракрасная спектроскопия</a:t>
            </a:r>
            <a:endParaRPr lang="ru-RU" dirty="0"/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/>
          </p:nvPr>
        </p:nvGraphicFramePr>
        <p:xfrm>
          <a:off x="187478" y="509311"/>
          <a:ext cx="5040560" cy="1005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41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02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Метод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Определяемые характеристик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Оцениваемый параметр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63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пускание</a:t>
                      </a:r>
                      <a:endParaRPr lang="ru-RU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200" dirty="0" smtClean="0"/>
                        <a:t>Характеристические</a:t>
                      </a:r>
                      <a:r>
                        <a:rPr lang="ru-RU" sz="1200" baseline="0" dirty="0" smtClean="0"/>
                        <a:t> полосы </a:t>
                      </a:r>
                      <a:endParaRPr lang="ru-RU" sz="12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Идентификация веществ по функциональным группам</a:t>
                      </a:r>
                      <a:endParaRPr lang="ru-RU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58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ПВО</a:t>
                      </a:r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20" name="Picture 2" descr="Bruker's TG-FTIR interface can couple TENSOR and VERTEX Series FTIR spectrometers to a TG syste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3" t="29546" r="59508" b="16794"/>
          <a:stretch/>
        </p:blipFill>
        <p:spPr bwMode="auto">
          <a:xfrm>
            <a:off x="6237202" y="483518"/>
            <a:ext cx="2233878" cy="1182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Группа 20"/>
          <p:cNvGrpSpPr/>
          <p:nvPr/>
        </p:nvGrpSpPr>
        <p:grpSpPr>
          <a:xfrm>
            <a:off x="2666243" y="2139702"/>
            <a:ext cx="2471701" cy="735786"/>
            <a:chOff x="1127717" y="3477631"/>
            <a:chExt cx="3251688" cy="955278"/>
          </a:xfrm>
        </p:grpSpPr>
        <p:pic>
          <p:nvPicPr>
            <p:cNvPr id="9" name="Picture 19" descr="Asymmetrical stretching.gif">
              <a:hlinkClick r:id="rId4"/>
            </p:cNvPr>
            <p:cNvPicPr>
              <a:picLocks noChangeAspect="1" noChangeArrowheads="1" noCrop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4476" y="3477631"/>
              <a:ext cx="708028" cy="502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7" descr="Symmetrical stretching.gif">
              <a:hlinkClick r:id="rId6"/>
            </p:cNvPr>
            <p:cNvPicPr>
              <a:picLocks noChangeAspect="1" noChangeArrowheads="1" noCrop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8196" y="3477631"/>
              <a:ext cx="708028" cy="502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1" descr="Scissoring.gif">
              <a:hlinkClick r:id="rId8"/>
            </p:cNvPr>
            <p:cNvPicPr>
              <a:picLocks noChangeAspect="1" noChangeArrowheads="1" noCrop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7717" y="3930208"/>
              <a:ext cx="708028" cy="502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3" descr="Modo rotacao.gif">
              <a:hlinkClick r:id="rId10"/>
            </p:cNvPr>
            <p:cNvPicPr>
              <a:picLocks noChangeAspect="1" noChangeArrowheads="1" noCrop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3934" y="3930208"/>
              <a:ext cx="708028" cy="502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5" descr="Wagging.gif">
              <a:hlinkClick r:id="rId12"/>
            </p:cNvPr>
            <p:cNvPicPr>
              <a:picLocks noChangeAspect="1" noChangeArrowheads="1" noCrop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1588" y="3930208"/>
              <a:ext cx="708028" cy="502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7" descr="Twisting.gif">
              <a:hlinkClick r:id="rId14"/>
            </p:cNvPr>
            <p:cNvPicPr>
              <a:picLocks noChangeAspect="1" noChangeArrowheads="1" noCrop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1377" y="3930208"/>
              <a:ext cx="708028" cy="502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TextBox 15"/>
          <p:cNvSpPr txBox="1"/>
          <p:nvPr/>
        </p:nvSpPr>
        <p:spPr>
          <a:xfrm>
            <a:off x="1043608" y="1719814"/>
            <a:ext cx="14401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К излучение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363901" y="1703980"/>
            <a:ext cx="1076385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Вещество</a:t>
            </a:r>
            <a:endParaRPr lang="ru-RU" dirty="0"/>
          </a:p>
        </p:txBody>
      </p:sp>
      <p:sp>
        <p:nvSpPr>
          <p:cNvPr id="19" name="Стрелка вниз 18"/>
          <p:cNvSpPr/>
          <p:nvPr/>
        </p:nvSpPr>
        <p:spPr bwMode="auto">
          <a:xfrm rot="16200000">
            <a:off x="2542865" y="1772253"/>
            <a:ext cx="216024" cy="231402"/>
          </a:xfrm>
          <a:prstGeom prst="downArrow">
            <a:avLst/>
          </a:prstGeom>
          <a:ln w="6350"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Стрелка вниз 26"/>
          <p:cNvSpPr/>
          <p:nvPr/>
        </p:nvSpPr>
        <p:spPr bwMode="auto">
          <a:xfrm>
            <a:off x="3794081" y="1995686"/>
            <a:ext cx="216024" cy="231402"/>
          </a:xfrm>
          <a:prstGeom prst="downArrow">
            <a:avLst/>
          </a:prstGeom>
          <a:ln w="6350"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51519" y="2042979"/>
            <a:ext cx="24725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79025"/>
            <a:r>
              <a:rPr lang="ru-RU" sz="1050" dirty="0"/>
              <a:t>Валентные колебания </a:t>
            </a:r>
            <a:r>
              <a:rPr lang="ru-RU" sz="1050" dirty="0" smtClean="0"/>
              <a:t>возникают вследствие изменения межатомного </a:t>
            </a:r>
            <a:r>
              <a:rPr lang="ru-RU" sz="1050" dirty="0"/>
              <a:t>расстояния </a:t>
            </a:r>
            <a:r>
              <a:rPr lang="ru-RU" sz="1050" dirty="0" smtClean="0"/>
              <a:t>в направлении </a:t>
            </a:r>
            <a:r>
              <a:rPr lang="ru-RU" sz="1050" dirty="0"/>
              <a:t>химической </a:t>
            </a:r>
            <a:r>
              <a:rPr lang="ru-RU" sz="1050" dirty="0" smtClean="0"/>
              <a:t>связи между атомами</a:t>
            </a:r>
            <a:endParaRPr lang="ru-RU" sz="105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251519" y="2802643"/>
            <a:ext cx="2232249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/>
              <a:t>Деформационные колебания </a:t>
            </a:r>
            <a:r>
              <a:rPr lang="ru-RU" sz="1050" dirty="0" smtClean="0"/>
              <a:t>связаны с изменением </a:t>
            </a:r>
            <a:r>
              <a:rPr lang="ru-RU" sz="1050" dirty="0"/>
              <a:t>углов между связям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861730" y="3076235"/>
            <a:ext cx="208072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Регистрация спектра</a:t>
            </a:r>
            <a:endParaRPr lang="ru-RU" dirty="0"/>
          </a:p>
        </p:txBody>
      </p:sp>
      <p:sp>
        <p:nvSpPr>
          <p:cNvPr id="30" name="Стрелка вниз 29"/>
          <p:cNvSpPr/>
          <p:nvPr/>
        </p:nvSpPr>
        <p:spPr bwMode="auto">
          <a:xfrm>
            <a:off x="3794081" y="2859782"/>
            <a:ext cx="216024" cy="231402"/>
          </a:xfrm>
          <a:prstGeom prst="downArrow">
            <a:avLst/>
          </a:prstGeom>
          <a:ln w="6350"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657599" y="2063624"/>
            <a:ext cx="345638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Спектроскопия </a:t>
            </a:r>
            <a:r>
              <a:rPr lang="ru-RU" sz="1200" b="1" dirty="0" smtClean="0"/>
              <a:t>пропускания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dirty="0" smtClean="0"/>
              <a:t>П</a:t>
            </a:r>
            <a:r>
              <a:rPr lang="ru-RU" altLang="ru-RU" sz="1200" dirty="0" smtClean="0">
                <a:latin typeface="Arial" pitchFamily="34" charset="0"/>
              </a:rPr>
              <a:t>ропускание потока света через образец.</a:t>
            </a:r>
          </a:p>
          <a:p>
            <a:r>
              <a:rPr lang="ru-RU" altLang="ru-RU" sz="1200" dirty="0" smtClean="0">
                <a:latin typeface="Arial" pitchFamily="34" charset="0"/>
              </a:rPr>
              <a:t>Качественный/количественный анализ</a:t>
            </a:r>
            <a:endParaRPr lang="ru-RU" altLang="ru-RU" sz="1200" dirty="0">
              <a:latin typeface="Arial" pitchFamily="34" charset="0"/>
            </a:endParaRPr>
          </a:p>
          <a:p>
            <a:endParaRPr lang="ru-RU" sz="1200" dirty="0" smtClean="0"/>
          </a:p>
          <a:p>
            <a:r>
              <a:rPr lang="ru-RU" sz="1200" b="1" dirty="0"/>
              <a:t>Метод </a:t>
            </a:r>
            <a:r>
              <a:rPr lang="ru-RU" sz="1200" b="1" dirty="0" smtClean="0"/>
              <a:t>нарушенного </a:t>
            </a:r>
            <a:r>
              <a:rPr lang="ru-RU" sz="1200" b="1" dirty="0"/>
              <a:t>полного внутреннего отражения</a:t>
            </a:r>
          </a:p>
          <a:p>
            <a:r>
              <a:rPr lang="ru-RU" sz="1200" dirty="0" smtClean="0"/>
              <a:t>Исследование поверхностного слоя </a:t>
            </a:r>
            <a:r>
              <a:rPr lang="ru-RU" sz="1200" dirty="0"/>
              <a:t>образца  ≈ 20 </a:t>
            </a:r>
            <a:r>
              <a:rPr lang="ru-RU" sz="1200" dirty="0" smtClean="0"/>
              <a:t>мкм</a:t>
            </a:r>
          </a:p>
          <a:p>
            <a:r>
              <a:rPr lang="ru-RU" sz="1200" dirty="0" smtClean="0"/>
              <a:t>Качественный анализ</a:t>
            </a:r>
            <a:endParaRPr lang="ru-RU" sz="1200" dirty="0"/>
          </a:p>
          <a:p>
            <a:endParaRPr lang="ru-RU" sz="12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3365371"/>
            <a:ext cx="3124683" cy="1335621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7215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1374" y="170397"/>
            <a:ext cx="8481695" cy="474379"/>
          </a:xfrm>
        </p:spPr>
        <p:txBody>
          <a:bodyPr/>
          <a:lstStyle/>
          <a:p>
            <a:r>
              <a:rPr lang="ru-RU" dirty="0" smtClean="0"/>
              <a:t>Инфракрасная спектроскопия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102237" y="566559"/>
            <a:ext cx="59859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u="sng" dirty="0" smtClean="0">
                <a:solidFill>
                  <a:srgbClr val="E20000"/>
                </a:solidFill>
              </a:rPr>
              <a:t>Проблема: </a:t>
            </a:r>
            <a:r>
              <a:rPr lang="ru-RU" sz="1200" u="sng" dirty="0" smtClean="0">
                <a:solidFill>
                  <a:srgbClr val="E20000"/>
                </a:solidFill>
                <a:latin typeface="Arial" charset="0"/>
              </a:rPr>
              <a:t>Образование дефектов на пленке в виде маслянистых пятен, а также обрывы.</a:t>
            </a:r>
            <a:endParaRPr lang="en-US" sz="1200" u="sng" dirty="0" smtClean="0">
              <a:solidFill>
                <a:srgbClr val="E20000"/>
              </a:solidFill>
              <a:latin typeface="Arial" charset="0"/>
            </a:endParaRPr>
          </a:p>
          <a:p>
            <a:r>
              <a:rPr lang="ru-RU" sz="1200" u="sng" dirty="0" smtClean="0">
                <a:solidFill>
                  <a:srgbClr val="E20000"/>
                </a:solidFill>
                <a:latin typeface="Arial" charset="0"/>
              </a:rPr>
              <a:t>Материал: </a:t>
            </a:r>
            <a:r>
              <a:rPr lang="en-US" sz="1200" u="sng" dirty="0" smtClean="0">
                <a:solidFill>
                  <a:srgbClr val="E20000"/>
                </a:solidFill>
                <a:latin typeface="Arial" charset="0"/>
              </a:rPr>
              <a:t>PPH</a:t>
            </a:r>
            <a:endParaRPr lang="ru-RU" sz="1200" u="sng" dirty="0">
              <a:solidFill>
                <a:srgbClr val="E2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076056" y="3035044"/>
            <a:ext cx="40324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/>
              <a:t>По данным НПВО-ИК в месте дефекта помимо полипропилена обнаружено значительное количество машинного масла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sz="12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/>
              <a:t>Вероятной причиной образования дефекта на пленке является попадание смазывающего машинного масла, которое используется на линии по производству пленки.	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50353" y="165298"/>
            <a:ext cx="8835505" cy="4343117"/>
            <a:chOff x="50353" y="165298"/>
            <a:chExt cx="8835505" cy="4343117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53" y="1177527"/>
              <a:ext cx="5192800" cy="3330888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04" t="2401" r="21284" b="13601"/>
            <a:stretch/>
          </p:blipFill>
          <p:spPr>
            <a:xfrm>
              <a:off x="6112401" y="165298"/>
              <a:ext cx="2773457" cy="2773457"/>
            </a:xfrm>
            <a:prstGeom prst="rect">
              <a:avLst/>
            </a:prstGeom>
          </p:spPr>
        </p:pic>
        <p:cxnSp>
          <p:nvCxnSpPr>
            <p:cNvPr id="9" name="Прямая со стрелкой 8"/>
            <p:cNvCxnSpPr/>
            <p:nvPr/>
          </p:nvCxnSpPr>
          <p:spPr bwMode="auto">
            <a:xfrm flipH="1">
              <a:off x="4644008" y="1552026"/>
              <a:ext cx="2664296" cy="178289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TextBox 11"/>
            <p:cNvSpPr txBox="1"/>
            <p:nvPr/>
          </p:nvSpPr>
          <p:spPr>
            <a:xfrm>
              <a:off x="415466" y="3651870"/>
              <a:ext cx="12551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 smtClean="0"/>
                <a:t>Машинное масло</a:t>
              </a:r>
              <a:endParaRPr lang="ru-RU" sz="1200" dirty="0"/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84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51198" y="201706"/>
            <a:ext cx="5419056" cy="458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932335" y="2260727"/>
            <a:ext cx="1384541" cy="466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100" b="1" kern="0" dirty="0" smtClean="0"/>
              <a:t>ПРАВИЛА</a:t>
            </a:r>
            <a:endParaRPr lang="ru-RU" sz="2100" b="1" kern="0" dirty="0"/>
          </a:p>
        </p:txBody>
      </p:sp>
      <p:pic>
        <p:nvPicPr>
          <p:cNvPr id="6" name="Picture 7" descr="C:\Users\lavrishenkovaEO\Documents\Вебинар\иконки\png\007-alarm-clock.png"/>
          <p:cNvPicPr>
            <a:picLocks noChangeAspect="1" noChangeArrowheads="1"/>
          </p:cNvPicPr>
          <p:nvPr/>
        </p:nvPicPr>
        <p:blipFill>
          <a:blip r:embed="rId3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40489" y="601870"/>
            <a:ext cx="627669" cy="627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119202" y="1947246"/>
            <a:ext cx="1478290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Следуем времени</a:t>
            </a:r>
            <a:endParaRPr lang="ru-RU" sz="1125" dirty="0">
              <a:solidFill>
                <a:schemeClr val="accent1"/>
              </a:solidFill>
            </a:endParaRPr>
          </a:p>
        </p:txBody>
      </p:sp>
      <p:pic>
        <p:nvPicPr>
          <p:cNvPr id="8" name="Picture 5" descr="C:\Users\lavrishenkovaEO\Documents\Вебинар\иконки\png\004-evaluation.png"/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6516" y="597615"/>
            <a:ext cx="636180" cy="63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3801911" y="1947246"/>
            <a:ext cx="1704313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Участвуем в опросах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710643" y="1947245"/>
            <a:ext cx="1669047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Когда всё «зависло»</a:t>
            </a:r>
          </a:p>
        </p:txBody>
      </p:sp>
      <p:pic>
        <p:nvPicPr>
          <p:cNvPr id="11" name="Picture 3" descr="C:\Users\lavrishenkovaEO\Documents\Вебинар\иконки\png\002-laptop.png"/>
          <p:cNvPicPr>
            <a:picLocks noChangeAspect="1" noChangeArrowheads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1055" y="554311"/>
            <a:ext cx="722786" cy="72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5902521" y="1264933"/>
            <a:ext cx="10697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schemeClr val="bg1"/>
                </a:solidFill>
              </a:rPr>
              <a:t>подожди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schemeClr val="bg1"/>
                </a:solidFill>
              </a:rPr>
              <a:t>обнови страницу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00" dirty="0" err="1">
                <a:solidFill>
                  <a:schemeClr val="bg1"/>
                </a:solidFill>
              </a:rPr>
              <a:t>перезайди</a:t>
            </a:r>
            <a:r>
              <a:rPr lang="ru-RU" sz="700" dirty="0">
                <a:solidFill>
                  <a:schemeClr val="bg1"/>
                </a:solidFill>
              </a:rPr>
              <a:t> </a:t>
            </a:r>
          </a:p>
          <a:p>
            <a:pPr marL="71438" indent="-71438">
              <a:buFont typeface="Arial" panose="020B0604020202020204" pitchFamily="34" charset="0"/>
              <a:buChar char="•"/>
            </a:pPr>
            <a:r>
              <a:rPr lang="ru-RU" sz="700" dirty="0" smtClean="0">
                <a:solidFill>
                  <a:schemeClr val="bg1"/>
                </a:solidFill>
              </a:rPr>
              <a:t>посмотри </a:t>
            </a:r>
            <a:r>
              <a:rPr lang="ru-RU" sz="700" dirty="0">
                <a:solidFill>
                  <a:schemeClr val="bg1"/>
                </a:solidFill>
              </a:rPr>
              <a:t>в </a:t>
            </a:r>
            <a:r>
              <a:rPr lang="ru-RU" sz="700" dirty="0" smtClean="0">
                <a:solidFill>
                  <a:schemeClr val="bg1"/>
                </a:solidFill>
              </a:rPr>
              <a:t> </a:t>
            </a:r>
            <a:r>
              <a:rPr lang="ru-RU" sz="700" dirty="0">
                <a:solidFill>
                  <a:schemeClr val="bg1"/>
                </a:solidFill>
              </a:rPr>
              <a:t>записи</a:t>
            </a:r>
          </a:p>
        </p:txBody>
      </p:sp>
      <p:pic>
        <p:nvPicPr>
          <p:cNvPr id="13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9074" y="3816424"/>
            <a:ext cx="745550" cy="74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C:\Users\lavrishenkovaEO\Documents\Вебинар\иконки\png\003-happy.png"/>
          <p:cNvPicPr>
            <a:picLocks noChangeAspect="1" noChangeArrowheads="1"/>
          </p:cNvPicPr>
          <p:nvPr/>
        </p:nvPicPr>
        <p:blipFill>
          <a:blip r:embed="rId8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4684" y="3799814"/>
            <a:ext cx="778769" cy="778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lavrishenkovaEO\Documents\Вебинар\иконки\png\001-error.png"/>
          <p:cNvPicPr>
            <a:picLocks noChangeAspect="1" noChangeArrowheads="1"/>
          </p:cNvPicPr>
          <p:nvPr/>
        </p:nvPicPr>
        <p:blipFill>
          <a:blip r:embed="rId9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3513" y="3823918"/>
            <a:ext cx="730564" cy="730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2268195" y="2842351"/>
            <a:ext cx="1167307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Пишем в чате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888473" y="2842350"/>
            <a:ext cx="1531188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Выражаем эмоци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677329" y="2842349"/>
            <a:ext cx="1699504" cy="2654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25" b="1" dirty="0">
                <a:solidFill>
                  <a:schemeClr val="accent1"/>
                </a:solidFill>
              </a:rPr>
              <a:t>Ведущий вернется </a:t>
            </a:r>
            <a:r>
              <a:rPr lang="ru-RU" sz="1125" b="1" dirty="0">
                <a:solidFill>
                  <a:schemeClr val="accent1"/>
                </a:solidFill>
                <a:sym typeface="Wingdings" panose="05000000000000000000" pitchFamily="2" charset="2"/>
              </a:rPr>
              <a:t></a:t>
            </a:r>
            <a:endParaRPr lang="ru-RU" sz="1125" b="1" dirty="0">
              <a:solidFill>
                <a:schemeClr val="accent1"/>
              </a:solidFill>
            </a:endParaRPr>
          </a:p>
        </p:txBody>
      </p:sp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4825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роматография</a:t>
            </a:r>
            <a:endParaRPr lang="ru-RU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1259632" y="2211710"/>
            <a:ext cx="3312368" cy="1440160"/>
            <a:chOff x="755576" y="759459"/>
            <a:chExt cx="7128792" cy="3396467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755576" y="759459"/>
              <a:ext cx="6492240" cy="3213101"/>
              <a:chOff x="3210560" y="2964046"/>
              <a:chExt cx="6492240" cy="3213101"/>
            </a:xfrm>
          </p:grpSpPr>
          <p:pic>
            <p:nvPicPr>
              <p:cNvPr id="7" name="Рисунок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62904" y="2964046"/>
                <a:ext cx="5712180" cy="3213101"/>
              </a:xfrm>
              <a:prstGeom prst="rect">
                <a:avLst/>
              </a:prstGeom>
            </p:spPr>
          </p:pic>
          <p:sp>
            <p:nvSpPr>
              <p:cNvPr id="8" name="Прямоугольник 7"/>
              <p:cNvSpPr/>
              <p:nvPr/>
            </p:nvSpPr>
            <p:spPr bwMode="auto">
              <a:xfrm>
                <a:off x="3210560" y="2964046"/>
                <a:ext cx="6492240" cy="100851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8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sp>
          <p:nvSpPr>
            <p:cNvPr id="9" name="Прямоугольник 8"/>
            <p:cNvSpPr/>
            <p:nvPr/>
          </p:nvSpPr>
          <p:spPr bwMode="auto">
            <a:xfrm>
              <a:off x="2051720" y="3795886"/>
              <a:ext cx="5832648" cy="36004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79512" y="2896657"/>
            <a:ext cx="960969" cy="32316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dirty="0" smtClean="0"/>
              <a:t>Образец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283968" y="2896657"/>
            <a:ext cx="996811" cy="32316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dirty="0" smtClean="0"/>
              <a:t>Детектор</a:t>
            </a:r>
            <a:endParaRPr lang="ru-RU" dirty="0"/>
          </a:p>
        </p:txBody>
      </p:sp>
      <p:pic>
        <p:nvPicPr>
          <p:cNvPr id="13" name="Picture 2" descr="https://cf.ppt-online.org/files/slide/t/t5CBGazNyo9bv1SxcUldsYJL6WrHfZ0TQ7KhIA/slide-95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2" t="16137" r="37995" b="35946"/>
          <a:stretch/>
        </p:blipFill>
        <p:spPr bwMode="auto">
          <a:xfrm>
            <a:off x="5424795" y="2452880"/>
            <a:ext cx="3439689" cy="1381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59632" y="2263940"/>
            <a:ext cx="293336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Разделение веществ колонкой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11222" y="3941642"/>
            <a:ext cx="3294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Площадь пика – концентрация</a:t>
            </a:r>
          </a:p>
          <a:p>
            <a:r>
              <a:rPr lang="ru-RU" sz="1200" dirty="0" smtClean="0"/>
              <a:t>Положение пика (время выхода) – идентификация вещества</a:t>
            </a:r>
            <a:endParaRPr lang="ru-RU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385915" y="3578120"/>
            <a:ext cx="420660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                                 Принцип разделения</a:t>
            </a:r>
            <a:endParaRPr lang="en-US" dirty="0" smtClean="0">
              <a:solidFill>
                <a:schemeClr val="accent1"/>
              </a:solidFill>
            </a:endParaRPr>
          </a:p>
          <a:p>
            <a:r>
              <a:rPr lang="ru-RU" dirty="0" smtClean="0"/>
              <a:t>ГХ                              Разная сорбция</a:t>
            </a:r>
          </a:p>
          <a:p>
            <a:r>
              <a:rPr lang="ru-RU" dirty="0" smtClean="0"/>
              <a:t>ВЭЖХ                        Разная сорбция</a:t>
            </a:r>
          </a:p>
          <a:p>
            <a:r>
              <a:rPr lang="ru-RU" dirty="0" smtClean="0"/>
              <a:t>ГПХ          Разный гидродинамический объем</a:t>
            </a:r>
            <a:endParaRPr lang="ru-RU" dirty="0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/>
          </p:nvPr>
        </p:nvGraphicFramePr>
        <p:xfrm>
          <a:off x="195471" y="618710"/>
          <a:ext cx="5528657" cy="14573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596075">
                  <a:extLst>
                    <a:ext uri="{9D8B030D-6E8A-4147-A177-3AD203B41FA5}">
                      <a16:colId xmlns:a16="http://schemas.microsoft.com/office/drawing/2014/main" val="1360429920"/>
                    </a:ext>
                  </a:extLst>
                </a:gridCol>
                <a:gridCol w="29325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marL="0" algn="ctr" defTabSz="779025" rtl="0" eaLnBrk="1" latinLnBrk="0" hangingPunct="1"/>
                      <a:r>
                        <a:rPr lang="ru-RU" sz="1200" kern="1200" dirty="0" smtClean="0"/>
                        <a:t>Метод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779025" rtl="0" eaLnBrk="1" latinLnBrk="0" hangingPunct="1"/>
                      <a:r>
                        <a:rPr lang="ru-RU" sz="1200" kern="1200" dirty="0" smtClean="0"/>
                        <a:t>Оцениваемый параметр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3076">
                <a:tc>
                  <a:txBody>
                    <a:bodyPr/>
                    <a:lstStyle/>
                    <a:p>
                      <a:pPr marL="0" algn="l" defTabSz="779025" rtl="0" eaLnBrk="1" latinLnBrk="0" hangingPunct="1"/>
                      <a:r>
                        <a:rPr lang="ru-RU" sz="1200" kern="1200" dirty="0" smtClean="0"/>
                        <a:t>Газовая (ГХ)</a:t>
                      </a:r>
                    </a:p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/>
                        <a:t>Высокоэффективная жидкостная хроматография (ВЭЖХ)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/>
                        <a:t>Типы добавок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/>
                        <a:t>Концентрация добавок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216">
                <a:tc>
                  <a:txBody>
                    <a:bodyPr/>
                    <a:lstStyle/>
                    <a:p>
                      <a:pPr marL="0" algn="l" defTabSz="779025" rtl="0" eaLnBrk="1" latinLnBrk="0" hangingPunct="1"/>
                      <a:r>
                        <a:rPr lang="ru-RU" sz="1200" kern="1200" dirty="0" smtClean="0"/>
                        <a:t>Гель-проникающая хроматография (ГПХ)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/>
                        <a:t>Молекулярно-массовое распределение</a:t>
                      </a: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9080616"/>
                  </a:ext>
                </a:extLst>
              </a:tr>
            </a:tbl>
          </a:graphicData>
        </a:graphic>
      </p:graphicFrame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91" t="4682" r="31887" b="5601"/>
          <a:stretch/>
        </p:blipFill>
        <p:spPr>
          <a:xfrm>
            <a:off x="7827351" y="41715"/>
            <a:ext cx="1048691" cy="237453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4" t="18616" r="9581" b="9602"/>
          <a:stretch/>
        </p:blipFill>
        <p:spPr>
          <a:xfrm>
            <a:off x="6311298" y="97976"/>
            <a:ext cx="1185318" cy="105911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6" t="25342" r="14057" b="22017"/>
          <a:stretch/>
        </p:blipFill>
        <p:spPr>
          <a:xfrm>
            <a:off x="6144585" y="1356904"/>
            <a:ext cx="1352031" cy="963516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744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ель-проникающая хроматография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8" name="Таблица 7"/>
              <p:cNvGraphicFramePr>
                <a:graphicFrameLocks noGrp="1"/>
              </p:cNvGraphicFramePr>
              <p:nvPr>
                <p:extLst/>
              </p:nvPr>
            </p:nvGraphicFramePr>
            <p:xfrm>
              <a:off x="220941" y="481022"/>
              <a:ext cx="5472608" cy="158087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94421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528392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249421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000" dirty="0" smtClean="0"/>
                            <a:t>Определяемые характеристики</a:t>
                          </a:r>
                          <a:endParaRPr lang="ru-RU" sz="10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000" dirty="0" smtClean="0"/>
                            <a:t>Расшифровка</a:t>
                          </a:r>
                          <a:endParaRPr lang="ru-RU" sz="100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184630">
                    <a:tc>
                      <a:txBody>
                        <a:bodyPr/>
                        <a:lstStyle/>
                        <a:p>
                          <a:r>
                            <a:rPr lang="ru-RU" sz="900" dirty="0" smtClean="0"/>
                            <a:t>Молекулярно-массовые характеристики (</a:t>
                          </a:r>
                          <a:r>
                            <a:rPr lang="en-US" sz="900" dirty="0" err="1" smtClean="0"/>
                            <a:t>Mn</a:t>
                          </a:r>
                          <a:r>
                            <a:rPr lang="en-US" sz="900" dirty="0" smtClean="0"/>
                            <a:t>,</a:t>
                          </a:r>
                          <a:r>
                            <a:rPr lang="en-US" sz="900" baseline="0" dirty="0" smtClean="0"/>
                            <a:t> Mw, </a:t>
                          </a:r>
                          <a:r>
                            <a:rPr lang="en-US" sz="900" baseline="0" dirty="0" err="1" smtClean="0"/>
                            <a:t>Mz</a:t>
                          </a:r>
                          <a:r>
                            <a:rPr lang="en-US" sz="900" baseline="0" dirty="0" smtClean="0"/>
                            <a:t>)</a:t>
                          </a:r>
                          <a:endParaRPr lang="ru-RU" sz="900" baseline="0" dirty="0" smtClean="0"/>
                        </a:p>
                        <a:p>
                          <a:endParaRPr lang="en-US" sz="900" baseline="0" dirty="0" smtClean="0"/>
                        </a:p>
                        <a:p>
                          <a:r>
                            <a:rPr lang="ru-RU" sz="900" baseline="0" dirty="0" smtClean="0"/>
                            <a:t>Молекулярно-массовое распределение – ширина ММР (</a:t>
                          </a:r>
                          <a:r>
                            <a:rPr lang="en-US" sz="900" baseline="0" dirty="0" smtClean="0"/>
                            <a:t>Mw/</a:t>
                          </a:r>
                          <a:r>
                            <a:rPr lang="en-US" sz="900" baseline="0" dirty="0" err="1" smtClean="0"/>
                            <a:t>Mn</a:t>
                          </a:r>
                          <a:r>
                            <a:rPr lang="en-US" sz="900" baseline="0" dirty="0" smtClean="0"/>
                            <a:t>))</a:t>
                          </a:r>
                          <a:endParaRPr lang="ru-RU" sz="9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just"/>
                          <a:r>
                            <a:rPr lang="ru-RU" sz="900" dirty="0" smtClean="0"/>
                            <a:t>Среднечисловая </a:t>
                          </a:r>
                          <a:r>
                            <a:rPr lang="ru-RU" sz="900" dirty="0"/>
                            <a:t>молекулярная масса</a:t>
                          </a:r>
                          <a:r>
                            <a:rPr lang="en-US" sz="900" dirty="0"/>
                            <a:t> (</a:t>
                          </a:r>
                          <a:r>
                            <a:rPr lang="en-US" sz="900" dirty="0" err="1"/>
                            <a:t>Mn</a:t>
                          </a:r>
                          <a:r>
                            <a:rPr lang="en-US" sz="900" dirty="0"/>
                            <a:t>):  </a:t>
                          </a:r>
                          <a14:m>
                            <m:oMath xmlns:m="http://schemas.openxmlformats.org/officeDocument/2006/math">
                              <m:acc>
                                <m:accPr>
                                  <m:chr m:val="̅"/>
                                  <m:ctrlPr>
                                    <a:rPr lang="en-US" sz="9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900">
                                      <a:latin typeface="Cambria Math" panose="02040503050406030204" pitchFamily="18" charset="0"/>
                                    </a:rPr>
                                    <m:t>𝑀𝑛</m:t>
                                  </m:r>
                                </m:e>
                              </m:acc>
                              <m:r>
                                <a:rPr lang="en-US" sz="90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en-US" sz="9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nary>
                                    <m:naryPr>
                                      <m:chr m:val="∑"/>
                                      <m:subHide m:val="on"/>
                                      <m:supHide m:val="on"/>
                                      <m:ctrlPr>
                                        <a:rPr lang="en-US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/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en-US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900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  <m:sub>
                                          <m:r>
                                            <a:rPr lang="en-US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sSub>
                                        <m:sSubPr>
                                          <m:ctrlPr>
                                            <a:rPr lang="en-US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900">
                                              <a:latin typeface="Cambria Math" panose="02040503050406030204" pitchFamily="18" charset="0"/>
                                            </a:rPr>
                                            <m:t>𝑀</m:t>
                                          </m:r>
                                        </m:e>
                                        <m:sub>
                                          <m:r>
                                            <a:rPr lang="en-US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nary>
                                </m:num>
                                <m:den>
                                  <m:nary>
                                    <m:naryPr>
                                      <m:chr m:val="∑"/>
                                      <m:subHide m:val="on"/>
                                      <m:supHide m:val="on"/>
                                      <m:ctrlPr>
                                        <a:rPr lang="en-US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/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en-US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900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  <m:sub>
                                          <m:r>
                                            <a:rPr lang="en-US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nary>
                                </m:den>
                              </m:f>
                            </m:oMath>
                          </a14:m>
                          <a:endParaRPr lang="ru-RU" sz="900" dirty="0"/>
                        </a:p>
                        <a:p>
                          <a:pPr algn="just"/>
                          <a:r>
                            <a:rPr lang="ru-RU" sz="900" dirty="0" err="1"/>
                            <a:t>Средневесовая</a:t>
                          </a:r>
                          <a:r>
                            <a:rPr lang="ru-RU" sz="900" dirty="0"/>
                            <a:t> молекулярная масса</a:t>
                          </a:r>
                          <a:r>
                            <a:rPr lang="en-US" sz="900" dirty="0"/>
                            <a:t> (Mw): </a:t>
                          </a:r>
                          <a:r>
                            <a:rPr lang="ru-RU" sz="900" dirty="0"/>
                            <a:t> </a:t>
                          </a:r>
                          <a14:m>
                            <m:oMath xmlns:m="http://schemas.openxmlformats.org/officeDocument/2006/math">
                              <m:acc>
                                <m:accPr>
                                  <m:chr m:val="̅"/>
                                  <m:ctrlPr>
                                    <a:rPr lang="ru-RU" sz="9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ru-RU" sz="900">
                                      <a:latin typeface="Cambria Math" panose="02040503050406030204" pitchFamily="18" charset="0"/>
                                    </a:rPr>
                                    <m:t>𝑀𝑤</m:t>
                                  </m:r>
                                </m:e>
                              </m:acc>
                              <m:r>
                                <a:rPr lang="ru-RU" sz="90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ru-RU" sz="9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nary>
                                    <m:naryPr>
                                      <m:chr m:val="∑"/>
                                      <m:limLoc m:val="undOvr"/>
                                      <m:subHide m:val="on"/>
                                      <m:supHide m:val="on"/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/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sSubSup>
                                        <m:sSubSup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𝑀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  <m:sup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bSup>
                                    </m:e>
                                  </m:nary>
                                </m:num>
                                <m:den>
                                  <m:nary>
                                    <m:naryPr>
                                      <m:chr m:val="∑"/>
                                      <m:limLoc m:val="undOvr"/>
                                      <m:subHide m:val="on"/>
                                      <m:supHide m:val="on"/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/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e>
                                  </m:nary>
                                  <m:sSub>
                                    <m:sSubPr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sz="900">
                                          <a:latin typeface="Cambria Math" panose="02040503050406030204" pitchFamily="18" charset="0"/>
                                        </a:rPr>
                                        <m:t>𝑀</m:t>
                                      </m:r>
                                    </m:e>
                                    <m:sub>
                                      <m:r>
                                        <a:rPr lang="ru-RU" sz="900"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den>
                              </m:f>
                            </m:oMath>
                          </a14:m>
                          <a:endParaRPr lang="ru-RU" sz="900" dirty="0"/>
                        </a:p>
                        <a:p>
                          <a:pPr algn="just"/>
                          <a:r>
                            <a:rPr lang="en-US" sz="900" dirty="0"/>
                            <a:t>Z</a:t>
                          </a:r>
                          <a:r>
                            <a:rPr lang="ru-RU" sz="900" dirty="0"/>
                            <a:t>-средняя молекулярная масса</a:t>
                          </a:r>
                          <a:r>
                            <a:rPr lang="en-US" sz="900" dirty="0"/>
                            <a:t> (</a:t>
                          </a:r>
                          <a:r>
                            <a:rPr lang="en-US" sz="900" dirty="0" err="1"/>
                            <a:t>Mz</a:t>
                          </a:r>
                          <a:r>
                            <a:rPr lang="en-US" sz="900" dirty="0"/>
                            <a:t>):  </a:t>
                          </a:r>
                          <a14:m>
                            <m:oMath xmlns:m="http://schemas.openxmlformats.org/officeDocument/2006/math">
                              <m:acc>
                                <m:accPr>
                                  <m:chr m:val="̅"/>
                                  <m:ctrlPr>
                                    <a:rPr lang="ru-RU" sz="900" i="1"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ru-RU" sz="900">
                                      <a:latin typeface="Cambria Math" panose="02040503050406030204" pitchFamily="18" charset="0"/>
                                    </a:rPr>
                                    <m:t>𝑀𝑧</m:t>
                                  </m:r>
                                </m:e>
                              </m:acc>
                              <m:r>
                                <a:rPr lang="ru-RU" sz="900"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f>
                                <m:fPr>
                                  <m:ctrlPr>
                                    <a:rPr lang="ru-RU" sz="9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nary>
                                    <m:naryPr>
                                      <m:chr m:val="∑"/>
                                      <m:limLoc m:val="undOvr"/>
                                      <m:subHide m:val="on"/>
                                      <m:supHide m:val="on"/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/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sSubSup>
                                        <m:sSubSup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𝑀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  <m:sup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sup>
                                      </m:sSubSup>
                                    </m:e>
                                  </m:nary>
                                </m:num>
                                <m:den>
                                  <m:nary>
                                    <m:naryPr>
                                      <m:chr m:val="∑"/>
                                      <m:limLoc m:val="undOvr"/>
                                      <m:subHide m:val="on"/>
                                      <m:supHide m:val="on"/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naryPr>
                                    <m:sub/>
                                    <m:sup/>
                                    <m:e>
                                      <m:sSub>
                                        <m:sSub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𝑛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  <m:sSubSup>
                                        <m:sSubSupPr>
                                          <m:ctrlPr>
                                            <a:rPr lang="ru-RU" sz="900" i="1"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𝑀</m:t>
                                          </m:r>
                                        </m:e>
                                        <m:sub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  <m:sup>
                                          <m:r>
                                            <a:rPr lang="ru-RU" sz="900">
                                              <a:latin typeface="Cambria Math" panose="02040503050406030204" pitchFamily="18" charset="0"/>
                                            </a:rPr>
                                            <m:t>2</m:t>
                                          </m:r>
                                        </m:sup>
                                      </m:sSubSup>
                                    </m:e>
                                  </m:nary>
                                </m:den>
                              </m:f>
                            </m:oMath>
                          </a14:m>
                          <a:endParaRPr lang="ru-RU" sz="900" dirty="0" smtClean="0"/>
                        </a:p>
                        <a:p>
                          <a:pPr algn="just"/>
                          <a:r>
                            <a:rPr lang="ru-RU" sz="900" dirty="0"/>
                            <a:t>Молекулярно-массовое распределение</a:t>
                          </a:r>
                          <a:r>
                            <a:rPr lang="en-US" sz="900" dirty="0"/>
                            <a:t> (</a:t>
                          </a:r>
                          <a:r>
                            <a:rPr lang="ru-RU" sz="900" dirty="0"/>
                            <a:t>ММР)</a:t>
                          </a:r>
                          <a:r>
                            <a:rPr lang="en-US" sz="900" dirty="0"/>
                            <a:t>: </a:t>
                          </a:r>
                          <a14:m>
                            <m:oMath xmlns:m="http://schemas.openxmlformats.org/officeDocument/2006/math">
                              <m:r>
                                <a:rPr lang="ru-RU" sz="900">
                                  <a:latin typeface="Cambria Math" panose="02040503050406030204" pitchFamily="18" charset="0"/>
                                </a:rPr>
                                <m:t>ММР=</m:t>
                              </m:r>
                              <m:f>
                                <m:fPr>
                                  <m:ctrlPr>
                                    <a:rPr lang="ru-RU" sz="900" i="1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900">
                                          <a:latin typeface="Cambria Math" panose="02040503050406030204" pitchFamily="18" charset="0"/>
                                        </a:rPr>
                                        <m:t>𝑀</m:t>
                                      </m:r>
                                    </m:e>
                                    <m:sub>
                                      <m:r>
                                        <a:rPr lang="en-US" sz="900">
                                          <a:latin typeface="Cambria Math" panose="02040503050406030204" pitchFamily="18" charset="0"/>
                                        </a:rPr>
                                        <m:t>𝑤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ru-RU" sz="900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ru-RU" sz="900">
                                          <a:latin typeface="Cambria Math" panose="02040503050406030204" pitchFamily="18" charset="0"/>
                                        </a:rPr>
                                        <m:t>𝑀</m:t>
                                      </m:r>
                                    </m:e>
                                    <m:sub>
                                      <m:r>
                                        <a:rPr lang="ru-RU" sz="900">
                                          <a:latin typeface="Cambria Math" panose="02040503050406030204" pitchFamily="18" charset="0"/>
                                        </a:rPr>
                                        <m:t>𝑛</m:t>
                                      </m:r>
                                    </m:sub>
                                  </m:sSub>
                                </m:den>
                              </m:f>
                            </m:oMath>
                          </a14:m>
                          <a:endParaRPr lang="ru-RU" sz="900" dirty="0"/>
                        </a:p>
                        <a:p>
                          <a:pPr marL="0" marR="0" indent="0" algn="l" defTabSz="779025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ru-RU" sz="90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8" name="Таблица 7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48720809"/>
                  </p:ext>
                </p:extLst>
              </p:nvPr>
            </p:nvGraphicFramePr>
            <p:xfrm>
              <a:off x="220941" y="481022"/>
              <a:ext cx="5472608" cy="158087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944216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3528392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962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000" dirty="0" smtClean="0"/>
                            <a:t>Определяемые характеристики</a:t>
                          </a:r>
                          <a:endParaRPr lang="ru-RU" sz="10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000" dirty="0" smtClean="0"/>
                            <a:t>Расшифровка</a:t>
                          </a:r>
                          <a:endParaRPr lang="ru-RU" sz="100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1184630">
                    <a:tc>
                      <a:txBody>
                        <a:bodyPr/>
                        <a:lstStyle/>
                        <a:p>
                          <a:r>
                            <a:rPr lang="ru-RU" sz="900" dirty="0" smtClean="0"/>
                            <a:t>Молекулярно-массовые характеристики (</a:t>
                          </a:r>
                          <a:r>
                            <a:rPr lang="en-US" sz="900" dirty="0" err="1" smtClean="0"/>
                            <a:t>Mn</a:t>
                          </a:r>
                          <a:r>
                            <a:rPr lang="en-US" sz="900" dirty="0" smtClean="0"/>
                            <a:t>,</a:t>
                          </a:r>
                          <a:r>
                            <a:rPr lang="en-US" sz="900" baseline="0" dirty="0" smtClean="0"/>
                            <a:t> Mw, </a:t>
                          </a:r>
                          <a:r>
                            <a:rPr lang="en-US" sz="900" baseline="0" dirty="0" err="1" smtClean="0"/>
                            <a:t>Mz</a:t>
                          </a:r>
                          <a:r>
                            <a:rPr lang="en-US" sz="900" baseline="0" dirty="0" smtClean="0"/>
                            <a:t>)</a:t>
                          </a:r>
                          <a:endParaRPr lang="ru-RU" sz="900" baseline="0" dirty="0" smtClean="0"/>
                        </a:p>
                        <a:p>
                          <a:endParaRPr lang="en-US" sz="900" baseline="0" dirty="0" smtClean="0"/>
                        </a:p>
                        <a:p>
                          <a:r>
                            <a:rPr lang="ru-RU" sz="900" baseline="0" dirty="0" smtClean="0"/>
                            <a:t>Молекулярно-массовое распределение – ширина ММР (</a:t>
                          </a:r>
                          <a:r>
                            <a:rPr lang="en-US" sz="900" baseline="0" dirty="0" smtClean="0"/>
                            <a:t>Mw/</a:t>
                          </a:r>
                          <a:r>
                            <a:rPr lang="en-US" sz="900" baseline="0" dirty="0" err="1" smtClean="0"/>
                            <a:t>Mn</a:t>
                          </a:r>
                          <a:r>
                            <a:rPr lang="en-US" sz="900" baseline="0" dirty="0" smtClean="0"/>
                            <a:t>))</a:t>
                          </a:r>
                          <a:endParaRPr lang="ru-RU" sz="900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anchor="ctr">
                        <a:blipFill>
                          <a:blip r:embed="rId3"/>
                          <a:stretch>
                            <a:fillRect l="-55268" t="-33673" r="-518" b="-102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" y="2531145"/>
            <a:ext cx="2903535" cy="1686101"/>
          </a:xfrm>
          <a:prstGeom prst="rect">
            <a:avLst/>
          </a:prstGeom>
        </p:spPr>
      </p:pic>
      <p:cxnSp>
        <p:nvCxnSpPr>
          <p:cNvPr id="9" name="Прямая со стрелкой 8"/>
          <p:cNvCxnSpPr/>
          <p:nvPr/>
        </p:nvCxnSpPr>
        <p:spPr bwMode="auto">
          <a:xfrm flipV="1">
            <a:off x="2926666" y="2789640"/>
            <a:ext cx="1315689" cy="34535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 стрелкой 11"/>
          <p:cNvCxnSpPr/>
          <p:nvPr/>
        </p:nvCxnSpPr>
        <p:spPr bwMode="auto">
          <a:xfrm>
            <a:off x="2926666" y="3675076"/>
            <a:ext cx="1315689" cy="4320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TextBox 13"/>
          <p:cNvSpPr txBox="1"/>
          <p:nvPr/>
        </p:nvSpPr>
        <p:spPr>
          <a:xfrm>
            <a:off x="4548729" y="4423993"/>
            <a:ext cx="15614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Бимодальное ММР</a:t>
            </a:r>
            <a:endParaRPr lang="ru-RU" sz="12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100" y="2148163"/>
            <a:ext cx="1501764" cy="114340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729" y="3448490"/>
            <a:ext cx="1370246" cy="104327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505414" y="3164306"/>
            <a:ext cx="28271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Унимодальное</a:t>
            </a:r>
            <a:r>
              <a:rPr lang="en-US" sz="1200" dirty="0" smtClean="0"/>
              <a:t>/</a:t>
            </a:r>
            <a:r>
              <a:rPr lang="ru-RU" sz="1200" dirty="0" smtClean="0"/>
              <a:t>мономодальное ММР</a:t>
            </a:r>
            <a:endParaRPr lang="ru-RU" sz="12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5724128" y="415945"/>
            <a:ext cx="3395226" cy="1348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ru-RU" sz="1200" dirty="0" smtClean="0">
                <a:ea typeface="Calibri"/>
                <a:cs typeface="Times New Roman"/>
              </a:rPr>
              <a:t>Метод позволяет </a:t>
            </a:r>
            <a:r>
              <a:rPr lang="ru-RU" sz="1200" dirty="0">
                <a:ea typeface="Calibri"/>
                <a:cs typeface="Times New Roman"/>
              </a:rPr>
              <a:t>оценивать </a:t>
            </a:r>
            <a:r>
              <a:rPr lang="ru-RU" sz="1200" dirty="0" err="1">
                <a:ea typeface="Calibri"/>
                <a:cs typeface="Times New Roman"/>
              </a:rPr>
              <a:t>полидисперсность</a:t>
            </a:r>
            <a:r>
              <a:rPr lang="ru-RU" sz="1200" dirty="0">
                <a:ea typeface="Calibri"/>
                <a:cs typeface="Times New Roman"/>
              </a:rPr>
              <a:t> и молекулярную массу полимера, которые оказывают влияние на </a:t>
            </a:r>
            <a:r>
              <a:rPr lang="ru-RU" sz="1200" dirty="0" smtClean="0">
                <a:ea typeface="Calibri"/>
                <a:cs typeface="Times New Roman"/>
              </a:rPr>
              <a:t>физико-механические </a:t>
            </a:r>
            <a:r>
              <a:rPr lang="ru-RU" sz="1200" dirty="0">
                <a:ea typeface="Calibri"/>
                <a:cs typeface="Times New Roman"/>
              </a:rPr>
              <a:t>и реологические свойства </a:t>
            </a:r>
            <a:r>
              <a:rPr lang="ru-RU" sz="1200" dirty="0" smtClean="0">
                <a:ea typeface="Calibri"/>
                <a:cs typeface="Times New Roman"/>
              </a:rPr>
              <a:t>материала в процессе переработки и эксплуатации.</a:t>
            </a:r>
            <a:endParaRPr lang="ru-RU" sz="1200" dirty="0">
              <a:ea typeface="Calibri"/>
              <a:cs typeface="Times New Roman"/>
            </a:endParaRPr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2378" y="3405182"/>
            <a:ext cx="1935973" cy="1295811"/>
          </a:xfrm>
          <a:prstGeom prst="rect">
            <a:avLst/>
          </a:prstGeom>
          <a:noFill/>
          <a:extLst/>
        </p:spPr>
      </p:pic>
      <p:pic>
        <p:nvPicPr>
          <p:cNvPr id="20" name="Picture 2" descr="C:\Users\GalanichevaEP\Desktop\Big-bag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3694" y="1481621"/>
            <a:ext cx="1427042" cy="1768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835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4501" y="186356"/>
            <a:ext cx="8481695" cy="474379"/>
          </a:xfrm>
        </p:spPr>
        <p:txBody>
          <a:bodyPr/>
          <a:lstStyle/>
          <a:p>
            <a:r>
              <a:rPr lang="ru-RU" dirty="0" err="1" smtClean="0"/>
              <a:t>Препаративные</a:t>
            </a:r>
            <a:r>
              <a:rPr lang="ru-RU" dirty="0" smtClean="0"/>
              <a:t> методы</a:t>
            </a:r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91156"/>
              </p:ext>
            </p:extLst>
          </p:nvPr>
        </p:nvGraphicFramePr>
        <p:xfrm>
          <a:off x="121219" y="555526"/>
          <a:ext cx="8784977" cy="41044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9943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1666">
                  <a:extLst>
                    <a:ext uri="{9D8B030D-6E8A-4147-A177-3AD203B41FA5}">
                      <a16:colId xmlns:a16="http://schemas.microsoft.com/office/drawing/2014/main" val="3592499784"/>
                    </a:ext>
                  </a:extLst>
                </a:gridCol>
                <a:gridCol w="12373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27477">
                  <a:extLst>
                    <a:ext uri="{9D8B030D-6E8A-4147-A177-3AD203B41FA5}">
                      <a16:colId xmlns:a16="http://schemas.microsoft.com/office/drawing/2014/main" val="1987485062"/>
                    </a:ext>
                  </a:extLst>
                </a:gridCol>
                <a:gridCol w="2609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4266">
                  <a:extLst>
                    <a:ext uri="{9D8B030D-6E8A-4147-A177-3AD203B41FA5}">
                      <a16:colId xmlns:a16="http://schemas.microsoft.com/office/drawing/2014/main" val="2587310704"/>
                    </a:ext>
                  </a:extLst>
                </a:gridCol>
              </a:tblGrid>
              <a:tr h="493917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Метод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олимер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Возможные проблемы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Фото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Суть метод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рибор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03513"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Содержание летучих веществ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П, ПЭ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узыри, обрывность, налет,</a:t>
                      </a:r>
                    </a:p>
                    <a:p>
                      <a:pPr algn="ctr"/>
                      <a:r>
                        <a:rPr lang="ru-RU" sz="1000" dirty="0" smtClean="0"/>
                        <a:t>шероховатость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Определение потери в массе испытуемого материала после сушки при (105±2) °С.</a:t>
                      </a: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3513"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одержание </a:t>
                      </a:r>
                      <a:r>
                        <a:rPr lang="ru-RU" sz="1000" baseline="0" dirty="0" smtClean="0"/>
                        <a:t>золы</a:t>
                      </a:r>
                      <a:endParaRPr lang="ru-RU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П, ПЭ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Отклонения</a:t>
                      </a:r>
                      <a:r>
                        <a:rPr lang="ru-RU" sz="1000" baseline="0" dirty="0" smtClean="0"/>
                        <a:t> от нормативной документации, включения,</a:t>
                      </a:r>
                    </a:p>
                    <a:p>
                      <a:pPr algn="ctr"/>
                      <a:r>
                        <a:rPr lang="ru-RU" sz="1000" baseline="0" dirty="0" smtClean="0"/>
                        <a:t>Отложения на оборудовании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Полное </a:t>
                      </a:r>
                      <a:r>
                        <a:rPr lang="ru-RU" sz="1000" dirty="0" err="1" smtClean="0"/>
                        <a:t>озоление</a:t>
                      </a:r>
                      <a:r>
                        <a:rPr lang="ru-RU" sz="1000" dirty="0" smtClean="0"/>
                        <a:t> образца и последующее прокаливание остатка в муфельной печи до постоянной массы.</a:t>
                      </a:r>
                      <a:endParaRPr lang="ru-RU" sz="1000" dirty="0" smtClean="0">
                        <a:solidFill>
                          <a:prstClr val="black"/>
                        </a:solidFill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prstClr val="black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3513"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одержание технического углерод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Э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Снижение физико-механических свойств;</a:t>
                      </a:r>
                    </a:p>
                    <a:p>
                      <a:pPr algn="ctr"/>
                      <a:r>
                        <a:rPr lang="ru-RU" sz="1000" dirty="0" smtClean="0"/>
                        <a:t>плохая светостойкость изделий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prstClr val="black"/>
                          </a:solidFill>
                        </a:rPr>
                        <a:t>Прокаливание образца в токе</a:t>
                      </a:r>
                      <a:r>
                        <a:rPr lang="ru-RU" sz="1000" baseline="0" dirty="0" smtClean="0">
                          <a:solidFill>
                            <a:prstClr val="black"/>
                          </a:solidFill>
                        </a:rPr>
                        <a:t> </a:t>
                      </a:r>
                      <a:r>
                        <a:rPr lang="ru-RU" sz="1000" baseline="0" dirty="0" err="1" smtClean="0">
                          <a:solidFill>
                            <a:prstClr val="black"/>
                          </a:solidFill>
                        </a:rPr>
                        <a:t>инерта</a:t>
                      </a:r>
                      <a:r>
                        <a:rPr lang="ru-RU" sz="1000" baseline="0" dirty="0" smtClean="0">
                          <a:solidFill>
                            <a:prstClr val="black"/>
                          </a:solidFill>
                        </a:rPr>
                        <a:t> до полного разложения полимерной матрицы</a:t>
                      </a:r>
                      <a:endParaRPr lang="ru-RU" sz="1000" dirty="0" smtClean="0">
                        <a:solidFill>
                          <a:prstClr val="black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prstClr val="black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9093361"/>
                  </a:ext>
                </a:extLst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1" b="2431"/>
          <a:stretch/>
        </p:blipFill>
        <p:spPr bwMode="auto">
          <a:xfrm>
            <a:off x="7978335" y="2859782"/>
            <a:ext cx="927861" cy="1110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/>
          <a:stretch/>
        </p:blipFill>
        <p:spPr>
          <a:xfrm>
            <a:off x="7956376" y="1240323"/>
            <a:ext cx="830952" cy="727501"/>
          </a:xfrm>
          <a:prstGeom prst="rect">
            <a:avLst/>
          </a:prstGeom>
        </p:spPr>
      </p:pic>
      <p:pic>
        <p:nvPicPr>
          <p:cNvPr id="12" name="Picture 2" descr="http://img-fotki.yandex.ru/get/2/118553414.d/0_68e14_c4f6c0ae_L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6950" y="1059582"/>
            <a:ext cx="1863122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 descr="https://daypic.ru/pars/20121209/20121209_5613/5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83" r="50000"/>
          <a:stretch/>
        </p:blipFill>
        <p:spPr bwMode="auto">
          <a:xfrm>
            <a:off x="3635896" y="2280563"/>
            <a:ext cx="1363609" cy="115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C:\Users\Mukhamadeevaag\Pictures\Бракованные трубы\demontazh-polietilenovyh-vodovodov_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6981" y="3507493"/>
            <a:ext cx="1401438" cy="1109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003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2542" y="217890"/>
            <a:ext cx="8481695" cy="474379"/>
          </a:xfrm>
        </p:spPr>
        <p:txBody>
          <a:bodyPr/>
          <a:lstStyle/>
          <a:p>
            <a:r>
              <a:rPr lang="ru-RU" dirty="0" err="1" smtClean="0"/>
              <a:t>Препаративные</a:t>
            </a:r>
            <a:r>
              <a:rPr lang="ru-RU" dirty="0" smtClean="0"/>
              <a:t> методы</a:t>
            </a:r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121220" y="562245"/>
          <a:ext cx="8784975" cy="4155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384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3592499784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99357420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65843">
                  <a:extLst>
                    <a:ext uri="{9D8B030D-6E8A-4147-A177-3AD203B41FA5}">
                      <a16:colId xmlns:a16="http://schemas.microsoft.com/office/drawing/2014/main" val="2587310704"/>
                    </a:ext>
                  </a:extLst>
                </a:gridCol>
              </a:tblGrid>
              <a:tr h="68124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Метод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олимер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Возможные проблемы</a:t>
                      </a:r>
                      <a:endParaRPr lang="ru-RU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/>
                        <a:t>Фото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Суть метод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/>
                        <a:t>Прибор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l"/>
                      <a:r>
                        <a:rPr lang="en-US" sz="1000" dirty="0" smtClean="0"/>
                        <a:t>XS</a:t>
                      </a:r>
                      <a:r>
                        <a:rPr lang="ru-RU" sz="1000" dirty="0" smtClean="0"/>
                        <a:t> (растворимые</a:t>
                      </a:r>
                      <a:r>
                        <a:rPr lang="ru-RU" sz="1000" baseline="0" dirty="0" smtClean="0"/>
                        <a:t> в ксилоле)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П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err="1" smtClean="0"/>
                        <a:t>Нетехнологичность</a:t>
                      </a:r>
                      <a:r>
                        <a:rPr lang="ru-RU" sz="1000" dirty="0" smtClean="0"/>
                        <a:t>, парафины, налет, выделения НМ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Растворение образца в кипящем о-ксилоле с последующим контролируемым охлаждением и выдержкой при 25 °С.</a:t>
                      </a: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Растворимые в гептане/</a:t>
                      </a:r>
                      <a:r>
                        <a:rPr lang="ru-RU" sz="1000" dirty="0" err="1" smtClean="0"/>
                        <a:t>гексане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П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Парафины, налет, </a:t>
                      </a:r>
                      <a:r>
                        <a:rPr lang="ru-RU" sz="1000" dirty="0" err="1" smtClean="0"/>
                        <a:t>нетехнологичность</a:t>
                      </a:r>
                      <a:endParaRPr lang="ru-RU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Определение фракции полипропилена, не растворимой в кипящем гептане/</a:t>
                      </a:r>
                      <a:r>
                        <a:rPr lang="ru-RU" sz="1000" dirty="0" err="1" smtClean="0"/>
                        <a:t>гексане</a:t>
                      </a:r>
                      <a:r>
                        <a:rPr lang="ru-RU" sz="1000" dirty="0" smtClean="0"/>
                        <a:t>.</a:t>
                      </a:r>
                      <a:endParaRPr lang="ru-RU" sz="10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8240"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/>
                        <a:t>Растворимые</a:t>
                      </a:r>
                      <a:r>
                        <a:rPr lang="ru-RU" sz="1000" baseline="0" dirty="0" smtClean="0"/>
                        <a:t> в </a:t>
                      </a:r>
                      <a:r>
                        <a:rPr lang="ru-RU" sz="1000" baseline="0" dirty="0" err="1" smtClean="0"/>
                        <a:t>диэтиловом</a:t>
                      </a:r>
                      <a:r>
                        <a:rPr lang="ru-RU" sz="1000" baseline="0" dirty="0" smtClean="0"/>
                        <a:t> эфире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Э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err="1" smtClean="0"/>
                        <a:t>Нетехнологичность</a:t>
                      </a:r>
                      <a:r>
                        <a:rPr lang="ru-RU" sz="1000" dirty="0" smtClean="0"/>
                        <a:t>, парафины, налет, выделения НМПЭ, содержание критично</a:t>
                      </a:r>
                      <a:r>
                        <a:rPr lang="ru-RU" sz="1000" baseline="0" dirty="0" smtClean="0"/>
                        <a:t> для выбора сегмента применения</a:t>
                      </a:r>
                      <a:endParaRPr lang="ru-RU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7790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defTabSz="913673"/>
                      <a:r>
                        <a:rPr lang="ru-RU" sz="1000" dirty="0" smtClean="0"/>
                        <a:t>Экстрагирование из полиэтилена масел и низкомолекулярных веществ </a:t>
                      </a:r>
                      <a:r>
                        <a:rPr lang="ru-RU" sz="1000" dirty="0" err="1" smtClean="0"/>
                        <a:t>диэтиловым</a:t>
                      </a:r>
                      <a:r>
                        <a:rPr lang="ru-RU" sz="1000" dirty="0" smtClean="0"/>
                        <a:t> эфиром.</a:t>
                      </a:r>
                      <a:endParaRPr lang="ru-RU" sz="1000" dirty="0">
                        <a:solidFill>
                          <a:prstClr val="black"/>
                        </a:solidFill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defTabSz="913673"/>
                      <a:endParaRPr lang="ru-RU" sz="900" dirty="0">
                        <a:solidFill>
                          <a:prstClr val="black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1" name="Picture 2" descr="Картинки по запросу soxhlet apparatus in analysis GIF">
            <a:hlinkClick r:id="rId3"/>
          </p:cNvPr>
          <p:cNvPicPr>
            <a:picLocks noChangeAspect="1" noChangeArrowheads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9911" y="2432250"/>
            <a:ext cx="970669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50" t="1875" r="1251" b="5209"/>
          <a:stretch/>
        </p:blipFill>
        <p:spPr bwMode="auto">
          <a:xfrm>
            <a:off x="7806043" y="1346499"/>
            <a:ext cx="1064537" cy="989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image00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91" t="31026" r="22272"/>
          <a:stretch/>
        </p:blipFill>
        <p:spPr bwMode="auto">
          <a:xfrm>
            <a:off x="3563887" y="1259411"/>
            <a:ext cx="1683415" cy="1114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Mukhamadeevaag\Pictures\Бракованные трубы\vedro-plastmassovoe-plastikovoe-kryshkoj-1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499742"/>
            <a:ext cx="1683415" cy="96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s://40.img.avito.st/640x480/5089684440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20"/>
          <a:stretch/>
        </p:blipFill>
        <p:spPr bwMode="auto">
          <a:xfrm>
            <a:off x="3563888" y="3573888"/>
            <a:ext cx="1683415" cy="1112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3126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95486"/>
            <a:ext cx="8481695" cy="474379"/>
          </a:xfrm>
        </p:spPr>
        <p:txBody>
          <a:bodyPr/>
          <a:lstStyle/>
          <a:p>
            <a:r>
              <a:rPr lang="ru-RU" dirty="0"/>
              <a:t>О</a:t>
            </a:r>
            <a:r>
              <a:rPr lang="ru-RU" dirty="0" smtClean="0"/>
              <a:t>птическая и электронная микроскопия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0531" y="698308"/>
            <a:ext cx="8359941" cy="4023528"/>
            <a:chOff x="-363811" y="624668"/>
            <a:chExt cx="7512682" cy="4023528"/>
          </a:xfrm>
        </p:grpSpPr>
        <p:pic>
          <p:nvPicPr>
            <p:cNvPr id="14340" name="Picture 4" descr="C:\Users\AslanyanAS\Desktop\Картинки\mira3lm-03_1[1]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63811" y="2543763"/>
              <a:ext cx="2520279" cy="21044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Группа 5"/>
            <p:cNvGrpSpPr/>
            <p:nvPr/>
          </p:nvGrpSpPr>
          <p:grpSpPr>
            <a:xfrm>
              <a:off x="189531" y="624668"/>
              <a:ext cx="6959340" cy="3530551"/>
              <a:chOff x="189531" y="624668"/>
              <a:chExt cx="6959340" cy="3530551"/>
            </a:xfrm>
          </p:grpSpPr>
          <p:pic>
            <p:nvPicPr>
              <p:cNvPr id="14339" name="Picture 3" descr="C:\Users\AslanyanAS\Desktop\Картинки\zeiss4-1.jpg"/>
              <p:cNvPicPr>
                <a:picLocks noChangeAspect="1"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019" r="22642"/>
              <a:stretch/>
            </p:blipFill>
            <p:spPr bwMode="auto">
              <a:xfrm>
                <a:off x="189531" y="624668"/>
                <a:ext cx="1413594" cy="17880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Прямоугольник 17"/>
              <p:cNvSpPr>
                <a:spLocks noChangeArrowheads="1"/>
              </p:cNvSpPr>
              <p:nvPr/>
            </p:nvSpPr>
            <p:spPr bwMode="auto">
              <a:xfrm>
                <a:off x="2225317" y="1324767"/>
                <a:ext cx="1187904" cy="461665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numCol="1" anchor="ctr">
                <a:spAutoFit/>
              </a:bodyPr>
              <a:lstStyle/>
              <a:p>
                <a:pPr fontAlgn="ctr"/>
                <a:r>
                  <a:rPr lang="ru-RU" sz="1200" dirty="0" smtClean="0"/>
                  <a:t>Оптическая</a:t>
                </a:r>
              </a:p>
              <a:p>
                <a:pPr fontAlgn="ctr"/>
                <a:r>
                  <a:rPr lang="ru-RU" sz="1200" dirty="0" smtClean="0"/>
                  <a:t>микроскопия</a:t>
                </a:r>
                <a:endParaRPr lang="ru-RU" sz="1200" dirty="0"/>
              </a:p>
            </p:txBody>
          </p:sp>
          <p:sp>
            <p:nvSpPr>
              <p:cNvPr id="12" name="Прямоугольник 17"/>
              <p:cNvSpPr>
                <a:spLocks noChangeArrowheads="1"/>
              </p:cNvSpPr>
              <p:nvPr/>
            </p:nvSpPr>
            <p:spPr bwMode="auto">
              <a:xfrm>
                <a:off x="2199835" y="2737759"/>
                <a:ext cx="1164300" cy="461665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numCol="1" anchor="ctr">
                <a:spAutoFit/>
              </a:bodyPr>
              <a:lstStyle/>
              <a:p>
                <a:pPr fontAlgn="ctr"/>
                <a:r>
                  <a:rPr lang="ru-RU" sz="1200" dirty="0" smtClean="0"/>
                  <a:t>Электронная</a:t>
                </a:r>
              </a:p>
              <a:p>
                <a:pPr fontAlgn="ctr"/>
                <a:r>
                  <a:rPr lang="ru-RU" sz="1200" dirty="0" smtClean="0"/>
                  <a:t>микроскопия</a:t>
                </a:r>
                <a:endParaRPr lang="ru-RU" sz="1200" dirty="0"/>
              </a:p>
            </p:txBody>
          </p:sp>
          <p:pic>
            <p:nvPicPr>
              <p:cNvPr id="14341" name="Picture 5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38521" y="734472"/>
                <a:ext cx="1104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43" name="Picture 7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38521" y="1475899"/>
                <a:ext cx="1104900" cy="695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45" name="Picture 9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38521" y="2186576"/>
                <a:ext cx="1104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47" name="Picture 11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85668" y="3183669"/>
                <a:ext cx="1581150" cy="9715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Прямоугольник 17"/>
              <p:cNvSpPr>
                <a:spLocks noChangeArrowheads="1"/>
              </p:cNvSpPr>
              <p:nvPr/>
            </p:nvSpPr>
            <p:spPr bwMode="auto">
              <a:xfrm>
                <a:off x="5466407" y="3314575"/>
                <a:ext cx="1682464" cy="707886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numCol="1" anchor="ctr">
                <a:spAutoFit/>
              </a:bodyPr>
              <a:lstStyle/>
              <a:p>
                <a:pPr fontAlgn="ctr"/>
                <a:r>
                  <a:rPr lang="ru-RU" sz="1000" dirty="0" smtClean="0"/>
                  <a:t>Съёмка морфологии поверхности и определение элементного состава с помощью </a:t>
                </a:r>
                <a:r>
                  <a:rPr lang="en-US" sz="1000" dirty="0" smtClean="0"/>
                  <a:t>EDX </a:t>
                </a:r>
                <a:r>
                  <a:rPr lang="ru-RU" sz="1000" dirty="0" smtClean="0"/>
                  <a:t>приставки</a:t>
                </a:r>
                <a:endParaRPr lang="ru-RU" sz="1000" dirty="0"/>
              </a:p>
            </p:txBody>
          </p:sp>
          <p:sp>
            <p:nvSpPr>
              <p:cNvPr id="22" name="Прямоугольник 17"/>
              <p:cNvSpPr>
                <a:spLocks noChangeArrowheads="1"/>
              </p:cNvSpPr>
              <p:nvPr/>
            </p:nvSpPr>
            <p:spPr bwMode="auto">
              <a:xfrm>
                <a:off x="4986789" y="968548"/>
                <a:ext cx="1299741" cy="246221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numCol="1" anchor="ctr">
                <a:spAutoFit/>
              </a:bodyPr>
              <a:lstStyle/>
              <a:p>
                <a:pPr fontAlgn="ctr"/>
                <a:r>
                  <a:rPr lang="ru-RU" sz="1000" dirty="0" smtClean="0"/>
                  <a:t>Прямой свет</a:t>
                </a:r>
                <a:endParaRPr lang="ru-RU" sz="1000" dirty="0"/>
              </a:p>
            </p:txBody>
          </p:sp>
          <p:sp>
            <p:nvSpPr>
              <p:cNvPr id="23" name="Прямоугольник 17"/>
              <p:cNvSpPr>
                <a:spLocks noChangeArrowheads="1"/>
              </p:cNvSpPr>
              <p:nvPr/>
            </p:nvSpPr>
            <p:spPr bwMode="auto">
              <a:xfrm>
                <a:off x="4986789" y="1717375"/>
                <a:ext cx="1299741" cy="246221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numCol="1" anchor="ctr">
                <a:spAutoFit/>
              </a:bodyPr>
              <a:lstStyle/>
              <a:p>
                <a:pPr fontAlgn="ctr"/>
                <a:r>
                  <a:rPr lang="ru-RU" sz="1000" dirty="0" smtClean="0"/>
                  <a:t>Отраженный свет</a:t>
                </a:r>
                <a:endParaRPr lang="ru-RU" sz="1000" dirty="0"/>
              </a:p>
            </p:txBody>
          </p:sp>
          <p:sp>
            <p:nvSpPr>
              <p:cNvPr id="24" name="Прямоугольник 17"/>
              <p:cNvSpPr>
                <a:spLocks noChangeArrowheads="1"/>
              </p:cNvSpPr>
              <p:nvPr/>
            </p:nvSpPr>
            <p:spPr bwMode="auto">
              <a:xfrm>
                <a:off x="4986789" y="2349123"/>
                <a:ext cx="1299741" cy="400110"/>
              </a:xfrm>
              <a:prstGeom prst="rect">
                <a:avLst/>
              </a:prstGeom>
              <a:noFill/>
              <a:ln w="3175">
                <a:noFill/>
                <a:miter lim="800000"/>
                <a:headEnd/>
                <a:tailEnd/>
              </a:ln>
            </p:spPr>
            <p:txBody>
              <a:bodyPr wrap="square" numCol="1" anchor="ctr">
                <a:spAutoFit/>
              </a:bodyPr>
              <a:lstStyle/>
              <a:p>
                <a:pPr fontAlgn="ctr"/>
                <a:r>
                  <a:rPr lang="ru-RU" sz="1000" dirty="0" smtClean="0"/>
                  <a:t>Поляризационный свет</a:t>
                </a:r>
                <a:endParaRPr lang="ru-RU" sz="1000" dirty="0"/>
              </a:p>
            </p:txBody>
          </p:sp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5467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55009" y="1246809"/>
            <a:ext cx="2662549" cy="336247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842" y="1246808"/>
            <a:ext cx="2484156" cy="326045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92221" y="3693073"/>
            <a:ext cx="157437" cy="355686"/>
          </a:xfrm>
          <a:prstGeom prst="rect">
            <a:avLst/>
          </a:prstGeom>
          <a:noFill/>
        </p:spPr>
        <p:txBody>
          <a:bodyPr wrap="none" lIns="77925" tIns="38963" rIns="77925" bIns="38963" rtlCol="0">
            <a:spAutoFit/>
          </a:bodyPr>
          <a:lstStyle/>
          <a:p>
            <a:r>
              <a:rPr lang="ru-RU" sz="900" b="1" i="1" dirty="0" smtClean="0"/>
              <a:t/>
            </a:r>
            <a:br>
              <a:rPr lang="ru-RU" sz="900" b="1" i="1" dirty="0" smtClean="0"/>
            </a:br>
            <a:endParaRPr lang="ru-RU" sz="900" b="1" i="1" dirty="0"/>
          </a:p>
        </p:txBody>
      </p:sp>
      <p:pic>
        <p:nvPicPr>
          <p:cNvPr id="134156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134" y="2950828"/>
            <a:ext cx="2645947" cy="1744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65235" y="533650"/>
            <a:ext cx="86409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Плохое </a:t>
            </a:r>
            <a:r>
              <a:rPr lang="ru-RU" sz="1200" b="1" dirty="0"/>
              <a:t>распределение:</a:t>
            </a:r>
            <a:r>
              <a:rPr lang="ru-RU" sz="1200" dirty="0"/>
              <a:t> снижение прочностных свойств, снижение </a:t>
            </a:r>
            <a:r>
              <a:rPr lang="ru-RU" sz="1200" dirty="0" smtClean="0"/>
              <a:t>свариваемости труб, </a:t>
            </a:r>
            <a:r>
              <a:rPr lang="ru-RU" sz="1200" dirty="0"/>
              <a:t>низкая </a:t>
            </a:r>
            <a:r>
              <a:rPr lang="ru-RU" sz="1200" dirty="0" smtClean="0"/>
              <a:t>светостойкость или плохой внешний вид изделий.</a:t>
            </a:r>
            <a:endParaRPr lang="ru-RU" sz="1200" dirty="0"/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2589" y="957581"/>
            <a:ext cx="2602491" cy="1782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Нашивка 12"/>
          <p:cNvSpPr/>
          <p:nvPr/>
        </p:nvSpPr>
        <p:spPr bwMode="auto">
          <a:xfrm rot="5400000">
            <a:off x="789797" y="1968096"/>
            <a:ext cx="444398" cy="307798"/>
          </a:xfrm>
          <a:prstGeom prst="chevron">
            <a:avLst>
              <a:gd name="adj" fmla="val 10243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Нашивка 14"/>
          <p:cNvSpPr/>
          <p:nvPr/>
        </p:nvSpPr>
        <p:spPr bwMode="auto">
          <a:xfrm rot="5400000">
            <a:off x="1413721" y="3174475"/>
            <a:ext cx="444398" cy="307798"/>
          </a:xfrm>
          <a:prstGeom prst="chevron">
            <a:avLst>
              <a:gd name="adj" fmla="val 10243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Крест 15"/>
          <p:cNvSpPr/>
          <p:nvPr/>
        </p:nvSpPr>
        <p:spPr bwMode="auto">
          <a:xfrm rot="2700000" flipV="1">
            <a:off x="3502667" y="1992192"/>
            <a:ext cx="438087" cy="426723"/>
          </a:xfrm>
          <a:prstGeom prst="plus">
            <a:avLst>
              <a:gd name="adj" fmla="val 43160"/>
            </a:avLst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3"/>
          <p:cNvSpPr/>
          <p:nvPr/>
        </p:nvSpPr>
        <p:spPr bwMode="auto">
          <a:xfrm rot="5400000">
            <a:off x="2031134" y="1968096"/>
            <a:ext cx="444398" cy="307798"/>
          </a:xfrm>
          <a:prstGeom prst="chevron">
            <a:avLst>
              <a:gd name="adj" fmla="val 10243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" y="88211"/>
            <a:ext cx="9303906" cy="474379"/>
          </a:xfrm>
        </p:spPr>
        <p:txBody>
          <a:bodyPr/>
          <a:lstStyle/>
          <a:p>
            <a:r>
              <a:rPr lang="ru-RU" sz="1600" kern="1200" dirty="0" smtClean="0">
                <a:solidFill>
                  <a:srgbClr val="008C95"/>
                </a:solidFill>
              </a:rPr>
              <a:t>    </a:t>
            </a:r>
            <a:r>
              <a:rPr lang="ru-RU" kern="1200" dirty="0">
                <a:solidFill>
                  <a:srgbClr val="008C95"/>
                </a:solidFill>
              </a:rPr>
              <a:t>Оптическая </a:t>
            </a:r>
            <a:r>
              <a:rPr lang="ru-RU" kern="1200" dirty="0" smtClean="0">
                <a:solidFill>
                  <a:srgbClr val="008C95"/>
                </a:solidFill>
              </a:rPr>
              <a:t>микроскопия</a:t>
            </a:r>
            <a:r>
              <a:rPr lang="en-US" kern="1200" dirty="0" smtClean="0">
                <a:solidFill>
                  <a:srgbClr val="008C95"/>
                </a:solidFill>
              </a:rPr>
              <a:t> (</a:t>
            </a:r>
            <a:r>
              <a:rPr lang="ru-RU" kern="1200" dirty="0" smtClean="0">
                <a:solidFill>
                  <a:srgbClr val="008C95"/>
                </a:solidFill>
              </a:rPr>
              <a:t>оценка степени распределения технического углерода)</a:t>
            </a:r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5</a:t>
            </a:fld>
            <a:endParaRPr lang="ru-RU" dirty="0"/>
          </a:p>
        </p:txBody>
      </p:sp>
      <p:sp>
        <p:nvSpPr>
          <p:cNvPr id="21" name="Нашивка 14"/>
          <p:cNvSpPr/>
          <p:nvPr/>
        </p:nvSpPr>
        <p:spPr bwMode="auto">
          <a:xfrm rot="5400000">
            <a:off x="1413721" y="4233182"/>
            <a:ext cx="444398" cy="307798"/>
          </a:xfrm>
          <a:prstGeom prst="chevron">
            <a:avLst>
              <a:gd name="adj" fmla="val 10243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Крест 23"/>
          <p:cNvSpPr/>
          <p:nvPr/>
        </p:nvSpPr>
        <p:spPr bwMode="auto">
          <a:xfrm rot="2700000" flipV="1">
            <a:off x="4129900" y="3176061"/>
            <a:ext cx="438087" cy="426723"/>
          </a:xfrm>
          <a:prstGeom prst="plus">
            <a:avLst>
              <a:gd name="adj" fmla="val 43160"/>
            </a:avLst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Крест 24"/>
          <p:cNvSpPr/>
          <p:nvPr/>
        </p:nvSpPr>
        <p:spPr bwMode="auto">
          <a:xfrm rot="2700000" flipV="1">
            <a:off x="4863202" y="1992191"/>
            <a:ext cx="438087" cy="426723"/>
          </a:xfrm>
          <a:prstGeom prst="plus">
            <a:avLst>
              <a:gd name="adj" fmla="val 43160"/>
            </a:avLst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Крест 25"/>
          <p:cNvSpPr/>
          <p:nvPr/>
        </p:nvSpPr>
        <p:spPr bwMode="auto">
          <a:xfrm rot="2700000" flipV="1">
            <a:off x="4155129" y="4293900"/>
            <a:ext cx="438087" cy="426723"/>
          </a:xfrm>
          <a:prstGeom prst="plus">
            <a:avLst>
              <a:gd name="adj" fmla="val 43160"/>
            </a:avLst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616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9512" y="73174"/>
            <a:ext cx="8481695" cy="252672"/>
          </a:xfrm>
        </p:spPr>
        <p:txBody>
          <a:bodyPr>
            <a:normAutofit fontScale="90000"/>
          </a:bodyPr>
          <a:lstStyle/>
          <a:p>
            <a:r>
              <a:rPr lang="ru-RU" kern="1200" dirty="0"/>
              <a:t>Оптическая микроскопия</a:t>
            </a:r>
            <a:r>
              <a:rPr lang="en-US" kern="1200" dirty="0"/>
              <a:t> (</a:t>
            </a:r>
            <a:r>
              <a:rPr lang="ru-RU" kern="1200" dirty="0"/>
              <a:t>оценка степени распределения технического углерода)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82669" y="439203"/>
            <a:ext cx="5760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u="sng" dirty="0" smtClean="0">
                <a:solidFill>
                  <a:srgbClr val="E20000"/>
                </a:solidFill>
              </a:rPr>
              <a:t>Проблема: </a:t>
            </a:r>
            <a:r>
              <a:rPr lang="ru-RU" sz="1200" u="sng" dirty="0">
                <a:solidFill>
                  <a:srgbClr val="E20000"/>
                </a:solidFill>
              </a:rPr>
              <a:t>В процессе производства </a:t>
            </a:r>
            <a:r>
              <a:rPr lang="ru-RU" sz="1200" u="sng" dirty="0" smtClean="0">
                <a:solidFill>
                  <a:srgbClr val="E20000"/>
                </a:solidFill>
              </a:rPr>
              <a:t>кабеля на </a:t>
            </a:r>
            <a:r>
              <a:rPr lang="ru-RU" sz="1200" u="sng" dirty="0">
                <a:solidFill>
                  <a:srgbClr val="E20000"/>
                </a:solidFill>
              </a:rPr>
              <a:t>поверхности оболочки наблюдаются прострелы, оголение жил, шишки</a:t>
            </a:r>
            <a:r>
              <a:rPr lang="ru-RU" sz="1200" u="sng" dirty="0" smtClean="0">
                <a:solidFill>
                  <a:srgbClr val="E20000"/>
                </a:solidFill>
              </a:rPr>
              <a:t>.</a:t>
            </a:r>
            <a:endParaRPr lang="en-US" sz="1200" u="sng" dirty="0" smtClean="0">
              <a:solidFill>
                <a:srgbClr val="E20000"/>
              </a:solidFill>
            </a:endParaRPr>
          </a:p>
          <a:p>
            <a:r>
              <a:rPr lang="ru-RU" sz="1200" u="sng" dirty="0" smtClean="0">
                <a:solidFill>
                  <a:srgbClr val="E20000"/>
                </a:solidFill>
              </a:rPr>
              <a:t>Материал</a:t>
            </a:r>
            <a:r>
              <a:rPr lang="ru-RU" sz="1200" u="sng" dirty="0">
                <a:solidFill>
                  <a:srgbClr val="E20000"/>
                </a:solidFill>
              </a:rPr>
              <a:t>: </a:t>
            </a:r>
            <a:r>
              <a:rPr lang="en-US" sz="1200" u="sng" dirty="0" smtClean="0">
                <a:solidFill>
                  <a:srgbClr val="E20000"/>
                </a:solidFill>
              </a:rPr>
              <a:t>LDPE</a:t>
            </a:r>
            <a:r>
              <a:rPr lang="ru-RU" sz="1200" u="sng" dirty="0" smtClean="0">
                <a:solidFill>
                  <a:srgbClr val="E20000"/>
                </a:solidFill>
              </a:rPr>
              <a:t> с добавлением концентрата технического углерода</a:t>
            </a:r>
            <a:endParaRPr lang="en-US" sz="1200" u="sng" dirty="0">
              <a:solidFill>
                <a:srgbClr val="E200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251886" y="3418365"/>
            <a:ext cx="27472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/>
              <a:t>Неравномерное распределение технического </a:t>
            </a:r>
            <a:r>
              <a:rPr lang="ru-RU" sz="1200" dirty="0" smtClean="0"/>
              <a:t>углерод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/>
              <a:t>Переход на другой концентрат </a:t>
            </a:r>
            <a:r>
              <a:rPr lang="ru-RU" sz="1200" dirty="0"/>
              <a:t>технического </a:t>
            </a:r>
            <a:r>
              <a:rPr lang="ru-RU" sz="1200" dirty="0" smtClean="0"/>
              <a:t>углерода</a:t>
            </a:r>
            <a:endParaRPr lang="en-US" sz="12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6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6219" y="1198185"/>
            <a:ext cx="2224736" cy="292184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40147" y="1198891"/>
            <a:ext cx="2226246" cy="2921143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3251887" y="1904629"/>
            <a:ext cx="2684297" cy="1330271"/>
            <a:chOff x="6077119" y="808038"/>
            <a:chExt cx="2684297" cy="1330271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588" b="7336"/>
            <a:stretch/>
          </p:blipFill>
          <p:spPr>
            <a:xfrm>
              <a:off x="6077119" y="808038"/>
              <a:ext cx="2684297" cy="1330271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 bwMode="auto">
            <a:xfrm>
              <a:off x="6959150" y="808038"/>
              <a:ext cx="1424198" cy="1028855"/>
            </a:xfrm>
            <a:prstGeom prst="ellipse">
              <a:avLst/>
            </a:prstGeom>
            <a:noFill/>
            <a:ln w="28575">
              <a:headEnd type="none" w="med" len="med"/>
              <a:tailEnd type="none" w="med" len="med"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13" name="Прямая со стрелкой 12"/>
          <p:cNvCxnSpPr/>
          <p:nvPr/>
        </p:nvCxnSpPr>
        <p:spPr bwMode="auto">
          <a:xfrm>
            <a:off x="5382794" y="2537396"/>
            <a:ext cx="1083220" cy="16184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 bwMode="auto">
          <a:xfrm flipH="1">
            <a:off x="2613727" y="2569764"/>
            <a:ext cx="1083600" cy="0"/>
          </a:xfrm>
          <a:prstGeom prst="straightConnector1">
            <a:avLst/>
          </a:prstGeom>
          <a:ln w="28575">
            <a:headEnd type="none" w="med" len="med"/>
            <a:tailEnd type="triangle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484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203848" y="3553882"/>
            <a:ext cx="2125910" cy="32316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DX-</a:t>
            </a:r>
            <a:r>
              <a:rPr lang="ru-RU" dirty="0" smtClean="0">
                <a:solidFill>
                  <a:schemeClr val="tx1"/>
                </a:solidFill>
              </a:rPr>
              <a:t>приставк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418396" y="163414"/>
            <a:ext cx="8481695" cy="474379"/>
          </a:xfrm>
        </p:spPr>
        <p:txBody>
          <a:bodyPr/>
          <a:lstStyle/>
          <a:p>
            <a:r>
              <a:rPr lang="ru-RU" dirty="0" smtClean="0"/>
              <a:t>Идентификация включений методом СЭМ</a:t>
            </a:r>
            <a:endParaRPr lang="ru-RU" dirty="0"/>
          </a:p>
        </p:txBody>
      </p:sp>
      <p:pic>
        <p:nvPicPr>
          <p:cNvPr id="14" name="Picture 8" descr="CellulosegelED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72"/>
          <a:stretch>
            <a:fillRect/>
          </a:stretch>
        </p:blipFill>
        <p:spPr bwMode="auto">
          <a:xfrm>
            <a:off x="390247" y="3147814"/>
            <a:ext cx="2237537" cy="129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816" name="Группа 34815"/>
          <p:cNvGrpSpPr/>
          <p:nvPr/>
        </p:nvGrpSpPr>
        <p:grpSpPr>
          <a:xfrm>
            <a:off x="523578" y="1711694"/>
            <a:ext cx="2104206" cy="1215162"/>
            <a:chOff x="523578" y="1711694"/>
            <a:chExt cx="2104206" cy="1215162"/>
          </a:xfrm>
        </p:grpSpPr>
        <p:pic>
          <p:nvPicPr>
            <p:cNvPr id="17" name="Picture 7" descr="CellulosegelSEM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090" y="1711694"/>
              <a:ext cx="2076694" cy="1215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523578" y="1717864"/>
              <a:ext cx="100008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</a:rPr>
                <a:t>Целлюлоза</a:t>
              </a:r>
              <a:endParaRPr lang="ru-RU" sz="12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0" name="Прямая со стрелкой 19"/>
          <p:cNvCxnSpPr/>
          <p:nvPr/>
        </p:nvCxnSpPr>
        <p:spPr bwMode="auto">
          <a:xfrm flipH="1">
            <a:off x="683568" y="2427734"/>
            <a:ext cx="612192" cy="1152128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203848" y="689573"/>
            <a:ext cx="2150973" cy="32316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Внешнее загрязнение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539552" y="468021"/>
            <a:ext cx="2316836" cy="969638"/>
            <a:chOff x="152194" y="465951"/>
            <a:chExt cx="2316836" cy="969638"/>
          </a:xfrm>
        </p:grpSpPr>
        <p:pic>
          <p:nvPicPr>
            <p:cNvPr id="34818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0" t="4925" r="14894" b="61344"/>
            <a:stretch/>
          </p:blipFill>
          <p:spPr bwMode="auto">
            <a:xfrm>
              <a:off x="152194" y="465951"/>
              <a:ext cx="2316836" cy="969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Прямоугольник 23"/>
            <p:cNvSpPr/>
            <p:nvPr/>
          </p:nvSpPr>
          <p:spPr>
            <a:xfrm>
              <a:off x="159654" y="465951"/>
              <a:ext cx="22892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 smtClean="0">
                  <a:solidFill>
                    <a:schemeClr val="bg1"/>
                  </a:solidFill>
                </a:rPr>
                <a:t>Фрагменты бумаги?</a:t>
              </a:r>
              <a:endParaRPr lang="ru-RU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5638378" y="484788"/>
            <a:ext cx="3404330" cy="936104"/>
            <a:chOff x="5638378" y="555526"/>
            <a:chExt cx="3404330" cy="936104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20" t="43446" r="14894" b="34791"/>
            <a:stretch/>
          </p:blipFill>
          <p:spPr bwMode="auto">
            <a:xfrm flipH="1">
              <a:off x="5638378" y="555526"/>
              <a:ext cx="3404330" cy="936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Прямоугольник 26"/>
            <p:cNvSpPr/>
            <p:nvPr/>
          </p:nvSpPr>
          <p:spPr>
            <a:xfrm>
              <a:off x="5796136" y="566732"/>
              <a:ext cx="228927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 err="1" smtClean="0">
                  <a:solidFill>
                    <a:schemeClr val="bg1"/>
                  </a:solidFill>
                </a:rPr>
                <a:t>Тефлон</a:t>
              </a:r>
              <a:r>
                <a:rPr lang="ru-RU" sz="1000" dirty="0" smtClean="0">
                  <a:solidFill>
                    <a:schemeClr val="bg1"/>
                  </a:solidFill>
                </a:rPr>
                <a:t>?</a:t>
              </a:r>
              <a:endParaRPr lang="ru-RU" sz="10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35" name="Picture 9" descr="teflonge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339" y="1708283"/>
            <a:ext cx="2072245" cy="121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0" descr="teflongeled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06"/>
          <a:stretch>
            <a:fillRect/>
          </a:stretch>
        </p:blipFill>
        <p:spPr bwMode="auto">
          <a:xfrm>
            <a:off x="6006461" y="3068198"/>
            <a:ext cx="228600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212232" y="2097450"/>
            <a:ext cx="2125910" cy="323165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ЭМ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4820" name="Прямая со стрелкой 34819"/>
          <p:cNvCxnSpPr/>
          <p:nvPr/>
        </p:nvCxnSpPr>
        <p:spPr bwMode="auto">
          <a:xfrm flipH="1">
            <a:off x="6804248" y="2571750"/>
            <a:ext cx="288032" cy="1008112"/>
          </a:xfrm>
          <a:prstGeom prst="straightConnector1">
            <a:avLst/>
          </a:prstGeom>
          <a:ln>
            <a:headEnd type="none" w="med" len="med"/>
            <a:tailEnd type="arrow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113339" y="1713797"/>
            <a:ext cx="7402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 smtClean="0">
                <a:solidFill>
                  <a:schemeClr val="bg1"/>
                </a:solidFill>
              </a:rPr>
              <a:t>Тефлон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3398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3" t="5990" r="31409" b="4863"/>
          <a:stretch/>
        </p:blipFill>
        <p:spPr>
          <a:xfrm>
            <a:off x="2012126" y="339502"/>
            <a:ext cx="775751" cy="173678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48" t="19427" r="9859" b="10303"/>
          <a:stretch/>
        </p:blipFill>
        <p:spPr>
          <a:xfrm>
            <a:off x="672340" y="2787774"/>
            <a:ext cx="1736218" cy="1536707"/>
          </a:xfrm>
          <a:prstGeom prst="snip2SameRect">
            <a:avLst>
              <a:gd name="adj1" fmla="val 5979"/>
              <a:gd name="adj2" fmla="val 0"/>
            </a:avLst>
          </a:prstGeom>
        </p:spPr>
      </p:pic>
      <p:pic>
        <p:nvPicPr>
          <p:cNvPr id="21" name="Picture 3" descr="C:\Users\AslanyanAS\Desktop\Картинки\zeiss4-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19" r="22642"/>
          <a:stretch/>
        </p:blipFill>
        <p:spPr bwMode="auto">
          <a:xfrm>
            <a:off x="5327383" y="155939"/>
            <a:ext cx="1087988" cy="1376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C:\Users\AslanyanAS\Desktop\Картинки\mira3lm-03_1[1]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6295" y="439831"/>
            <a:ext cx="2520279" cy="2104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08" t="26191" r="15189" b="23715"/>
          <a:stretch/>
        </p:blipFill>
        <p:spPr>
          <a:xfrm>
            <a:off x="3059832" y="264443"/>
            <a:ext cx="1969964" cy="1378197"/>
          </a:xfrm>
          <a:prstGeom prst="rect">
            <a:avLst/>
          </a:prstGeom>
        </p:spPr>
      </p:pic>
      <p:pic>
        <p:nvPicPr>
          <p:cNvPr id="36866" name="Picture 2" descr="Bruker's TG-FTIR interface can couple TENSOR and VERTEX Series FTIR spectrometers to a TG system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4" t="13897" r="3218" b="16794"/>
          <a:stretch/>
        </p:blipFill>
        <p:spPr bwMode="auto">
          <a:xfrm>
            <a:off x="3275856" y="2894685"/>
            <a:ext cx="4998055" cy="1322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103109" y="2226926"/>
            <a:ext cx="5136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8C95"/>
                </a:solidFill>
              </a:rPr>
              <a:t>Чаще используют комплекс методов!</a:t>
            </a:r>
            <a:endParaRPr lang="ru-RU" sz="2000" b="1" dirty="0">
              <a:solidFill>
                <a:srgbClr val="008C95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35496" y="1288057"/>
            <a:ext cx="1858410" cy="1338105"/>
            <a:chOff x="35496" y="1288057"/>
            <a:chExt cx="1858410" cy="1338105"/>
          </a:xfrm>
        </p:grpSpPr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04" y="1288057"/>
              <a:ext cx="1786402" cy="1338105"/>
            </a:xfrm>
            <a:prstGeom prst="snip1Rect">
              <a:avLst>
                <a:gd name="adj" fmla="val 41689"/>
              </a:avLst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35496" y="2298043"/>
              <a:ext cx="44755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b="1" dirty="0" smtClean="0"/>
                <a:t>ДСК</a:t>
              </a:r>
              <a:endParaRPr lang="ru-RU" sz="1000" b="1" dirty="0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701848" y="3954635"/>
            <a:ext cx="3417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ГХ</a:t>
            </a:r>
            <a:endParaRPr lang="ru-RU" sz="10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2085668" y="1980705"/>
            <a:ext cx="5693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ВЭЖХ</a:t>
            </a:r>
            <a:endParaRPr lang="ru-RU" sz="10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419872" y="1368936"/>
            <a:ext cx="43473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ГПХ</a:t>
            </a:r>
            <a:endParaRPr lang="ru-RU" sz="10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5557516" y="1488698"/>
            <a:ext cx="3914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ОМ</a:t>
            </a:r>
            <a:endParaRPr lang="ru-RU" sz="1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7354419" y="1692777"/>
            <a:ext cx="4764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СЭМ</a:t>
            </a:r>
            <a:endParaRPr lang="ru-RU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3351716" y="3867894"/>
            <a:ext cx="356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ИК</a:t>
            </a:r>
            <a:endParaRPr lang="ru-RU" sz="1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7809350" y="3433016"/>
            <a:ext cx="4283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/>
              <a:t>ТГА</a:t>
            </a:r>
            <a:endParaRPr lang="ru-RU" sz="1000" b="1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751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6"/>
          <p:cNvSpPr/>
          <p:nvPr/>
        </p:nvSpPr>
        <p:spPr bwMode="auto">
          <a:xfrm>
            <a:off x="395999" y="385273"/>
            <a:ext cx="3364967" cy="7200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6078" tIns="38039" rIns="76078" bIns="3803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7791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</a:rPr>
              <a:t>Брусина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</a:rPr>
              <a:t> Юлия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Главный эксперт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Испытательный </a:t>
            </a:r>
            <a:r>
              <a:rPr lang="ru-RU" sz="1400" i="1" kern="0" dirty="0">
                <a:solidFill>
                  <a:srgbClr val="000000"/>
                </a:solidFill>
              </a:rPr>
              <a:t>центр,</a:t>
            </a:r>
            <a:endParaRPr lang="en-US" sz="1400" i="1" kern="0" dirty="0" smtClean="0">
              <a:solidFill>
                <a:srgbClr val="000000"/>
              </a:solidFill>
            </a:endParaRP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Физико-химические исследования, </a:t>
            </a: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Полилаб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27661" y="95132"/>
            <a:ext cx="2160000" cy="720000"/>
          </a:xfrm>
          <a:prstGeom prst="rect">
            <a:avLst/>
          </a:prstGeom>
          <a:noFill/>
        </p:spPr>
        <p:txBody>
          <a:bodyPr wrap="none" lIns="76078" tIns="38039" rIns="76078" bIns="38039" rtlCol="0" anchor="ctr">
            <a:noAutofit/>
          </a:bodyPr>
          <a:lstStyle/>
          <a:p>
            <a:pPr lvl="0" defTabSz="779163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ел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: </a:t>
            </a:r>
            <a:r>
              <a:rPr lang="en-US" sz="1400" kern="0" dirty="0">
                <a:solidFill>
                  <a:srgbClr val="000000"/>
                </a:solidFill>
              </a:rPr>
              <a:t>+7 </a:t>
            </a:r>
            <a:r>
              <a:rPr lang="ru-RU" sz="1400" kern="0" dirty="0">
                <a:solidFill>
                  <a:srgbClr val="000000"/>
                </a:solidFill>
              </a:rPr>
              <a:t>(</a:t>
            </a:r>
            <a:r>
              <a:rPr lang="en-US" sz="1400" kern="0" dirty="0">
                <a:solidFill>
                  <a:srgbClr val="000000"/>
                </a:solidFill>
              </a:rPr>
              <a:t>495</a:t>
            </a:r>
            <a:r>
              <a:rPr lang="ru-RU" sz="1400" kern="0" dirty="0">
                <a:solidFill>
                  <a:srgbClr val="000000"/>
                </a:solidFill>
              </a:rPr>
              <a:t>)</a:t>
            </a:r>
            <a:r>
              <a:rPr lang="en-US" sz="1400" kern="0" dirty="0">
                <a:solidFill>
                  <a:srgbClr val="000000"/>
                </a:solidFill>
              </a:rPr>
              <a:t> </a:t>
            </a:r>
            <a:r>
              <a:rPr lang="ru-RU" sz="1400" kern="0" dirty="0">
                <a:solidFill>
                  <a:srgbClr val="000000"/>
                </a:solidFill>
              </a:rPr>
              <a:t>280-72-84 (*</a:t>
            </a:r>
            <a:r>
              <a:rPr lang="ru-RU" sz="1400" kern="0" dirty="0" smtClean="0">
                <a:solidFill>
                  <a:srgbClr val="000000"/>
                </a:solidFill>
              </a:rPr>
              <a:t>1208)</a:t>
            </a:r>
            <a:endParaRPr lang="ru-RU" sz="1400" kern="0" dirty="0">
              <a:solidFill>
                <a:srgbClr val="000000"/>
              </a:solidFill>
            </a:endParaRPr>
          </a:p>
          <a:p>
            <a:pPr marL="0" marR="0" lvl="0" indent="0" defTabSz="77916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-mail: </a:t>
            </a:r>
            <a:r>
              <a:rPr lang="en-US" sz="1400" u="sng" kern="0" dirty="0">
                <a:solidFill>
                  <a:srgbClr val="008C95"/>
                </a:solidFill>
              </a:rPr>
              <a:t>b</a:t>
            </a:r>
            <a:r>
              <a:rPr lang="en-US" sz="1400" u="sng" kern="0" dirty="0" err="1" smtClean="0">
                <a:solidFill>
                  <a:srgbClr val="008C95"/>
                </a:solidFill>
              </a:rPr>
              <a:t>rusinayue</a:t>
            </a:r>
            <a:r>
              <a:rPr kumimoji="0" lang="ru-RU" sz="1400" b="0" i="0" u="sng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@sibur.ru</a:t>
            </a:r>
            <a:r>
              <a:rPr kumimoji="0" lang="en-US" sz="1400" b="0" i="0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ru-RU" sz="1400" b="0" i="0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96000" y="1780392"/>
            <a:ext cx="3423867" cy="7200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headEnd type="none" w="med" len="med"/>
            <a:tailEnd type="none" w="med" len="med"/>
          </a:ln>
          <a:effectLst/>
          <a:extLst/>
        </p:spPr>
        <p:txBody>
          <a:bodyPr vert="horz" wrap="square" lIns="76078" tIns="38039" rIns="76078" bIns="38039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779163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</a:rPr>
              <a:t>Асланян Артур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>
                <a:solidFill>
                  <a:srgbClr val="000000"/>
                </a:solidFill>
              </a:rPr>
              <a:t>Главный эксперт, </a:t>
            </a:r>
            <a:endParaRPr lang="ru-RU" sz="1400" i="1" kern="0" dirty="0" smtClean="0">
              <a:solidFill>
                <a:srgbClr val="000000"/>
              </a:solidFill>
            </a:endParaRP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Испытательный центр, </a:t>
            </a: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Развитие клиентских сервисов,</a:t>
            </a:r>
          </a:p>
          <a:p>
            <a:pPr defTabSz="77916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kern="0" dirty="0" smtClean="0">
                <a:solidFill>
                  <a:srgbClr val="000000"/>
                </a:solidFill>
              </a:rPr>
              <a:t>Полилаб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8C95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59064" y="1458159"/>
            <a:ext cx="2340000" cy="720000"/>
          </a:xfrm>
          <a:prstGeom prst="rect">
            <a:avLst/>
          </a:prstGeom>
          <a:noFill/>
        </p:spPr>
        <p:txBody>
          <a:bodyPr wrap="none" lIns="76078" tIns="38039" rIns="76078" bIns="38039" rtlCol="0" anchor="ctr">
            <a:noAutofit/>
          </a:bodyPr>
          <a:lstStyle/>
          <a:p>
            <a:pPr lvl="0" defTabSz="779163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ел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: </a:t>
            </a:r>
            <a:r>
              <a:rPr lang="en-US" sz="1400" kern="0" dirty="0">
                <a:solidFill>
                  <a:srgbClr val="000000"/>
                </a:solidFill>
              </a:rPr>
              <a:t>+7 </a:t>
            </a:r>
            <a:r>
              <a:rPr lang="ru-RU" sz="1400" kern="0" dirty="0">
                <a:solidFill>
                  <a:srgbClr val="000000"/>
                </a:solidFill>
              </a:rPr>
              <a:t>(</a:t>
            </a:r>
            <a:r>
              <a:rPr lang="en-US" sz="1400" kern="0" dirty="0">
                <a:solidFill>
                  <a:srgbClr val="000000"/>
                </a:solidFill>
              </a:rPr>
              <a:t>495</a:t>
            </a:r>
            <a:r>
              <a:rPr lang="ru-RU" sz="1400" kern="0" dirty="0">
                <a:solidFill>
                  <a:srgbClr val="000000"/>
                </a:solidFill>
              </a:rPr>
              <a:t>)</a:t>
            </a:r>
            <a:r>
              <a:rPr lang="en-US" sz="1400" kern="0" dirty="0">
                <a:solidFill>
                  <a:srgbClr val="000000"/>
                </a:solidFill>
              </a:rPr>
              <a:t> </a:t>
            </a:r>
            <a:r>
              <a:rPr lang="ru-RU" sz="1400" kern="0" dirty="0">
                <a:solidFill>
                  <a:srgbClr val="000000"/>
                </a:solidFill>
              </a:rPr>
              <a:t>280-72-84 (*</a:t>
            </a:r>
            <a:r>
              <a:rPr lang="ru-RU" sz="1400" kern="0" dirty="0" smtClean="0">
                <a:solidFill>
                  <a:srgbClr val="000000"/>
                </a:solidFill>
              </a:rPr>
              <a:t>1203)</a:t>
            </a:r>
            <a:endParaRPr lang="ru-RU" sz="1400" kern="0" dirty="0">
              <a:solidFill>
                <a:srgbClr val="000000"/>
              </a:solidFill>
            </a:endParaRPr>
          </a:p>
          <a:p>
            <a:pPr defTabSz="779163"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-mail: </a:t>
            </a:r>
            <a:r>
              <a:rPr lang="en-US" sz="1400" u="sng" kern="0" dirty="0">
                <a:solidFill>
                  <a:srgbClr val="008C95"/>
                </a:solidFill>
              </a:rPr>
              <a:t>aslanyanas@sibur.ru</a:t>
            </a:r>
            <a:endParaRPr lang="ru-RU" sz="1400" u="sng" kern="0" dirty="0">
              <a:solidFill>
                <a:srgbClr val="008C95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9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154"/>
          <a:stretch/>
        </p:blipFill>
        <p:spPr>
          <a:xfrm>
            <a:off x="0" y="3031690"/>
            <a:ext cx="9144000" cy="2100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7521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ля чего нужны исследования полимеров?</a:t>
            </a:r>
          </a:p>
        </p:txBody>
      </p:sp>
      <p:sp>
        <p:nvSpPr>
          <p:cNvPr id="4" name="Дуга 3"/>
          <p:cNvSpPr/>
          <p:nvPr/>
        </p:nvSpPr>
        <p:spPr bwMode="auto">
          <a:xfrm>
            <a:off x="4478702" y="2165362"/>
            <a:ext cx="533728" cy="486651"/>
          </a:xfrm>
          <a:prstGeom prst="arc">
            <a:avLst>
              <a:gd name="adj1" fmla="val 16200000"/>
              <a:gd name="adj2" fmla="val 13364973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Дуга 4"/>
          <p:cNvSpPr/>
          <p:nvPr/>
        </p:nvSpPr>
        <p:spPr bwMode="auto">
          <a:xfrm>
            <a:off x="4478702" y="2712488"/>
            <a:ext cx="533728" cy="486651"/>
          </a:xfrm>
          <a:prstGeom prst="arc">
            <a:avLst>
              <a:gd name="adj1" fmla="val 19792516"/>
              <a:gd name="adj2" fmla="val 16251511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Полилиния 5"/>
          <p:cNvSpPr/>
          <p:nvPr/>
        </p:nvSpPr>
        <p:spPr bwMode="auto">
          <a:xfrm flipH="1">
            <a:off x="4952164" y="1594977"/>
            <a:ext cx="3959108" cy="155885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627833"/>
              <a:gd name="connsiteY0" fmla="*/ 0 h 130237"/>
              <a:gd name="connsiteX1" fmla="*/ 3384550 w 3627833"/>
              <a:gd name="connsiteY1" fmla="*/ 0 h 130237"/>
              <a:gd name="connsiteX2" fmla="*/ 3627833 w 3627833"/>
              <a:gd name="connsiteY2" fmla="*/ 130237 h 130237"/>
              <a:gd name="connsiteX0" fmla="*/ 0 w 3609514"/>
              <a:gd name="connsiteY0" fmla="*/ 0 h 130237"/>
              <a:gd name="connsiteX1" fmla="*/ 3384550 w 3609514"/>
              <a:gd name="connsiteY1" fmla="*/ 0 h 130237"/>
              <a:gd name="connsiteX2" fmla="*/ 3609514 w 3609514"/>
              <a:gd name="connsiteY2" fmla="*/ 130237 h 130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09514" h="130237">
                <a:moveTo>
                  <a:pt x="0" y="0"/>
                </a:moveTo>
                <a:lnTo>
                  <a:pt x="3384550" y="0"/>
                </a:lnTo>
                <a:lnTo>
                  <a:pt x="3609514" y="130237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latin typeface="Arial" charset="0"/>
            </a:endParaRPr>
          </a:p>
        </p:txBody>
      </p:sp>
      <p:sp>
        <p:nvSpPr>
          <p:cNvPr id="7" name="Полилиния 6"/>
          <p:cNvSpPr/>
          <p:nvPr/>
        </p:nvSpPr>
        <p:spPr bwMode="auto">
          <a:xfrm>
            <a:off x="537656" y="1189356"/>
            <a:ext cx="3960000" cy="102891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559138"/>
              <a:gd name="connsiteY0" fmla="*/ 0 h 91281"/>
              <a:gd name="connsiteX1" fmla="*/ 3384550 w 3559138"/>
              <a:gd name="connsiteY1" fmla="*/ 0 h 91281"/>
              <a:gd name="connsiteX2" fmla="*/ 3559138 w 3559138"/>
              <a:gd name="connsiteY2" fmla="*/ 91281 h 9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59138" h="91281">
                <a:moveTo>
                  <a:pt x="0" y="0"/>
                </a:moveTo>
                <a:lnTo>
                  <a:pt x="3384550" y="0"/>
                </a:lnTo>
                <a:lnTo>
                  <a:pt x="3559138" y="91281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12416" y="1689266"/>
            <a:ext cx="374285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239">
              <a:defRPr/>
            </a:pPr>
            <a:r>
              <a:rPr lang="ru-RU" sz="1400" b="1" dirty="0" smtClean="0"/>
              <a:t>Разработка новых полимерных</a:t>
            </a:r>
          </a:p>
          <a:p>
            <a:pPr algn="ctr" defTabSz="914239">
              <a:defRPr/>
            </a:pPr>
            <a:r>
              <a:rPr lang="ru-RU" sz="1400" b="1" dirty="0" smtClean="0"/>
              <a:t>марок</a:t>
            </a:r>
            <a:endParaRPr lang="ru-RU" sz="1400" b="1" dirty="0"/>
          </a:p>
        </p:txBody>
      </p:sp>
      <p:sp>
        <p:nvSpPr>
          <p:cNvPr id="9" name="Дуга 8"/>
          <p:cNvSpPr/>
          <p:nvPr/>
        </p:nvSpPr>
        <p:spPr bwMode="auto">
          <a:xfrm>
            <a:off x="4484214" y="1066922"/>
            <a:ext cx="533728" cy="486651"/>
          </a:xfrm>
          <a:prstGeom prst="arc">
            <a:avLst>
              <a:gd name="adj1" fmla="val 16200000"/>
              <a:gd name="adj2" fmla="val 11100097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Дуга 9"/>
          <p:cNvSpPr/>
          <p:nvPr/>
        </p:nvSpPr>
        <p:spPr bwMode="auto">
          <a:xfrm>
            <a:off x="4454473" y="1604184"/>
            <a:ext cx="533728" cy="486651"/>
          </a:xfrm>
          <a:prstGeom prst="arc">
            <a:avLst>
              <a:gd name="adj1" fmla="val 20178910"/>
              <a:gd name="adj2" fmla="val 16251511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Дуга 10"/>
          <p:cNvSpPr/>
          <p:nvPr/>
        </p:nvSpPr>
        <p:spPr bwMode="auto">
          <a:xfrm>
            <a:off x="4454473" y="3282702"/>
            <a:ext cx="533728" cy="486651"/>
          </a:xfrm>
          <a:prstGeom prst="arc">
            <a:avLst>
              <a:gd name="adj1" fmla="val 16200000"/>
              <a:gd name="adj2" fmla="val 13364973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Дуга 11"/>
          <p:cNvSpPr/>
          <p:nvPr/>
        </p:nvSpPr>
        <p:spPr bwMode="auto">
          <a:xfrm>
            <a:off x="4472737" y="3850529"/>
            <a:ext cx="533728" cy="486651"/>
          </a:xfrm>
          <a:prstGeom prst="arc">
            <a:avLst>
              <a:gd name="adj1" fmla="val 19792516"/>
              <a:gd name="adj2" fmla="val 16251511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Дуга 12"/>
          <p:cNvSpPr/>
          <p:nvPr/>
        </p:nvSpPr>
        <p:spPr bwMode="auto">
          <a:xfrm>
            <a:off x="4472737" y="4400302"/>
            <a:ext cx="533728" cy="486651"/>
          </a:xfrm>
          <a:prstGeom prst="arc">
            <a:avLst>
              <a:gd name="adj1" fmla="val 16200000"/>
              <a:gd name="adj2" fmla="val 13364973"/>
            </a:avLst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Полилиния 13"/>
          <p:cNvSpPr/>
          <p:nvPr/>
        </p:nvSpPr>
        <p:spPr bwMode="auto">
          <a:xfrm>
            <a:off x="542518" y="2124422"/>
            <a:ext cx="4029899" cy="115757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559138"/>
              <a:gd name="connsiteY0" fmla="*/ 0 h 91281"/>
              <a:gd name="connsiteX1" fmla="*/ 3384550 w 3559138"/>
              <a:gd name="connsiteY1" fmla="*/ 0 h 91281"/>
              <a:gd name="connsiteX2" fmla="*/ 3559138 w 3559138"/>
              <a:gd name="connsiteY2" fmla="*/ 91281 h 9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59138" h="91281">
                <a:moveTo>
                  <a:pt x="0" y="0"/>
                </a:moveTo>
                <a:lnTo>
                  <a:pt x="3384550" y="0"/>
                </a:lnTo>
                <a:lnTo>
                  <a:pt x="3559138" y="91281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олилиния 14"/>
          <p:cNvSpPr/>
          <p:nvPr/>
        </p:nvSpPr>
        <p:spPr bwMode="auto">
          <a:xfrm>
            <a:off x="542518" y="3256151"/>
            <a:ext cx="4000885" cy="102891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559138"/>
              <a:gd name="connsiteY0" fmla="*/ 0 h 91281"/>
              <a:gd name="connsiteX1" fmla="*/ 3384550 w 3559138"/>
              <a:gd name="connsiteY1" fmla="*/ 0 h 91281"/>
              <a:gd name="connsiteX2" fmla="*/ 3559138 w 3559138"/>
              <a:gd name="connsiteY2" fmla="*/ 91281 h 9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59138" h="91281">
                <a:moveTo>
                  <a:pt x="0" y="0"/>
                </a:moveTo>
                <a:lnTo>
                  <a:pt x="3384550" y="0"/>
                </a:lnTo>
                <a:lnTo>
                  <a:pt x="3559138" y="91281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олилиния 15"/>
          <p:cNvSpPr/>
          <p:nvPr/>
        </p:nvSpPr>
        <p:spPr bwMode="auto">
          <a:xfrm>
            <a:off x="542518" y="4373749"/>
            <a:ext cx="4017660" cy="102891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559138"/>
              <a:gd name="connsiteY0" fmla="*/ 0 h 91281"/>
              <a:gd name="connsiteX1" fmla="*/ 3384550 w 3559138"/>
              <a:gd name="connsiteY1" fmla="*/ 0 h 91281"/>
              <a:gd name="connsiteX2" fmla="*/ 3559138 w 3559138"/>
              <a:gd name="connsiteY2" fmla="*/ 91281 h 91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59138" h="91281">
                <a:moveTo>
                  <a:pt x="0" y="0"/>
                </a:moveTo>
                <a:lnTo>
                  <a:pt x="3384550" y="0"/>
                </a:lnTo>
                <a:lnTo>
                  <a:pt x="3559138" y="91281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Полилиния 16"/>
          <p:cNvSpPr/>
          <p:nvPr/>
        </p:nvSpPr>
        <p:spPr bwMode="auto">
          <a:xfrm flipH="1">
            <a:off x="4952164" y="3810263"/>
            <a:ext cx="3959108" cy="155885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627833"/>
              <a:gd name="connsiteY0" fmla="*/ 0 h 130237"/>
              <a:gd name="connsiteX1" fmla="*/ 3384550 w 3627833"/>
              <a:gd name="connsiteY1" fmla="*/ 0 h 130237"/>
              <a:gd name="connsiteX2" fmla="*/ 3627833 w 3627833"/>
              <a:gd name="connsiteY2" fmla="*/ 130237 h 130237"/>
              <a:gd name="connsiteX0" fmla="*/ 0 w 3609514"/>
              <a:gd name="connsiteY0" fmla="*/ 0 h 130237"/>
              <a:gd name="connsiteX1" fmla="*/ 3384550 w 3609514"/>
              <a:gd name="connsiteY1" fmla="*/ 0 h 130237"/>
              <a:gd name="connsiteX2" fmla="*/ 3609514 w 3609514"/>
              <a:gd name="connsiteY2" fmla="*/ 130237 h 130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09514" h="130237">
                <a:moveTo>
                  <a:pt x="0" y="0"/>
                </a:moveTo>
                <a:lnTo>
                  <a:pt x="3384550" y="0"/>
                </a:lnTo>
                <a:lnTo>
                  <a:pt x="3609514" y="130237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latin typeface="Arial" charset="0"/>
            </a:endParaRPr>
          </a:p>
        </p:txBody>
      </p:sp>
      <p:sp>
        <p:nvSpPr>
          <p:cNvPr id="18" name="Полилиния 17"/>
          <p:cNvSpPr/>
          <p:nvPr/>
        </p:nvSpPr>
        <p:spPr bwMode="auto">
          <a:xfrm flipH="1">
            <a:off x="4961040" y="2680824"/>
            <a:ext cx="3959108" cy="155885"/>
          </a:xfrm>
          <a:custGeom>
            <a:avLst/>
            <a:gdLst>
              <a:gd name="connsiteX0" fmla="*/ 0 w 3657600"/>
              <a:gd name="connsiteY0" fmla="*/ 0 h 146050"/>
              <a:gd name="connsiteX1" fmla="*/ 3384550 w 3657600"/>
              <a:gd name="connsiteY1" fmla="*/ 0 h 146050"/>
              <a:gd name="connsiteX2" fmla="*/ 3657600 w 3657600"/>
              <a:gd name="connsiteY2" fmla="*/ 146050 h 146050"/>
              <a:gd name="connsiteX0" fmla="*/ 0 w 3627833"/>
              <a:gd name="connsiteY0" fmla="*/ 0 h 130237"/>
              <a:gd name="connsiteX1" fmla="*/ 3384550 w 3627833"/>
              <a:gd name="connsiteY1" fmla="*/ 0 h 130237"/>
              <a:gd name="connsiteX2" fmla="*/ 3627833 w 3627833"/>
              <a:gd name="connsiteY2" fmla="*/ 130237 h 130237"/>
              <a:gd name="connsiteX0" fmla="*/ 0 w 3609514"/>
              <a:gd name="connsiteY0" fmla="*/ 0 h 130237"/>
              <a:gd name="connsiteX1" fmla="*/ 3384550 w 3609514"/>
              <a:gd name="connsiteY1" fmla="*/ 0 h 130237"/>
              <a:gd name="connsiteX2" fmla="*/ 3609514 w 3609514"/>
              <a:gd name="connsiteY2" fmla="*/ 130237 h 130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09514" h="130237">
                <a:moveTo>
                  <a:pt x="0" y="0"/>
                </a:moveTo>
                <a:lnTo>
                  <a:pt x="3384550" y="0"/>
                </a:lnTo>
                <a:lnTo>
                  <a:pt x="3609514" y="130237"/>
                </a:lnTo>
              </a:path>
            </a:pathLst>
          </a:custGeom>
          <a:noFill/>
          <a:ln w="635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42518" y="759558"/>
            <a:ext cx="373687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239">
              <a:defRPr/>
            </a:pPr>
            <a:r>
              <a:rPr lang="ru-RU" sz="1400" b="1" dirty="0" smtClean="0"/>
              <a:t>Технический контроль при выпуске серийной продукции</a:t>
            </a:r>
            <a:endParaRPr lang="ru-RU" sz="1400" b="1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5238213" y="1164090"/>
            <a:ext cx="368193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239">
              <a:defRPr/>
            </a:pPr>
            <a:r>
              <a:rPr lang="ru-RU" sz="1400" b="1" dirty="0" smtClean="0"/>
              <a:t>Контроль продукции на соответствие специальным требованиям</a:t>
            </a:r>
            <a:endParaRPr lang="ru-RU" sz="14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238213" y="2161770"/>
            <a:ext cx="36819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Контроль </a:t>
            </a:r>
            <a:r>
              <a:rPr lang="ru-RU" sz="1400" b="1" dirty="0" smtClean="0"/>
              <a:t>технологических</a:t>
            </a:r>
          </a:p>
          <a:p>
            <a:pPr algn="ctr"/>
            <a:r>
              <a:rPr lang="ru-RU" sz="1400" b="1" dirty="0" smtClean="0"/>
              <a:t>процессов</a:t>
            </a:r>
            <a:endParaRPr lang="ru-RU" sz="14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42518" y="2732931"/>
            <a:ext cx="37902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Установление корреляций с эксплуатационными свойствами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5238213" y="3282702"/>
            <a:ext cx="36819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Базис для сравнения с новыми материалами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3402" y="3850529"/>
            <a:ext cx="35339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Выявление </a:t>
            </a:r>
            <a:r>
              <a:rPr lang="ru-RU" sz="1400" b="1" dirty="0" smtClean="0"/>
              <a:t>причин обращений </a:t>
            </a:r>
            <a:r>
              <a:rPr lang="ru-RU" sz="1400" b="1" dirty="0"/>
              <a:t>клиентов</a:t>
            </a:r>
          </a:p>
        </p:txBody>
      </p:sp>
      <p:pic>
        <p:nvPicPr>
          <p:cNvPr id="25" name="Рисунок 2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0178" y="3917818"/>
            <a:ext cx="370775" cy="370774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8330" y="2801270"/>
            <a:ext cx="354471" cy="309085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4575210" y="4507034"/>
            <a:ext cx="328781" cy="297777"/>
            <a:chOff x="5092696" y="5180017"/>
            <a:chExt cx="596899" cy="585788"/>
          </a:xfrm>
        </p:grpSpPr>
        <p:sp>
          <p:nvSpPr>
            <p:cNvPr id="28" name="Freeform 21"/>
            <p:cNvSpPr>
              <a:spLocks/>
            </p:cNvSpPr>
            <p:nvPr/>
          </p:nvSpPr>
          <p:spPr bwMode="auto">
            <a:xfrm>
              <a:off x="5092696" y="5180017"/>
              <a:ext cx="596899" cy="577850"/>
            </a:xfrm>
            <a:custGeom>
              <a:avLst/>
              <a:gdLst>
                <a:gd name="T0" fmla="*/ 37 w 167"/>
                <a:gd name="T1" fmla="*/ 0 h 162"/>
                <a:gd name="T2" fmla="*/ 40 w 167"/>
                <a:gd name="T3" fmla="*/ 2 h 162"/>
                <a:gd name="T4" fmla="*/ 64 w 167"/>
                <a:gd name="T5" fmla="*/ 37 h 162"/>
                <a:gd name="T6" fmla="*/ 67 w 167"/>
                <a:gd name="T7" fmla="*/ 45 h 162"/>
                <a:gd name="T8" fmla="*/ 121 w 167"/>
                <a:gd name="T9" fmla="*/ 99 h 162"/>
                <a:gd name="T10" fmla="*/ 130 w 167"/>
                <a:gd name="T11" fmla="*/ 101 h 162"/>
                <a:gd name="T12" fmla="*/ 159 w 167"/>
                <a:gd name="T13" fmla="*/ 113 h 162"/>
                <a:gd name="T14" fmla="*/ 162 w 167"/>
                <a:gd name="T15" fmla="*/ 142 h 162"/>
                <a:gd name="T16" fmla="*/ 144 w 167"/>
                <a:gd name="T17" fmla="*/ 124 h 162"/>
                <a:gd name="T18" fmla="*/ 129 w 167"/>
                <a:gd name="T19" fmla="*/ 122 h 162"/>
                <a:gd name="T20" fmla="*/ 129 w 167"/>
                <a:gd name="T21" fmla="*/ 138 h 162"/>
                <a:gd name="T22" fmla="*/ 147 w 167"/>
                <a:gd name="T23" fmla="*/ 156 h 162"/>
                <a:gd name="T24" fmla="*/ 118 w 167"/>
                <a:gd name="T25" fmla="*/ 154 h 162"/>
                <a:gd name="T26" fmla="*/ 106 w 167"/>
                <a:gd name="T27" fmla="*/ 125 h 162"/>
                <a:gd name="T28" fmla="*/ 104 w 167"/>
                <a:gd name="T29" fmla="*/ 117 h 162"/>
                <a:gd name="T30" fmla="*/ 49 w 167"/>
                <a:gd name="T31" fmla="*/ 61 h 162"/>
                <a:gd name="T32" fmla="*/ 38 w 167"/>
                <a:gd name="T33" fmla="*/ 60 h 162"/>
                <a:gd name="T34" fmla="*/ 9 w 167"/>
                <a:gd name="T35" fmla="*/ 19 h 162"/>
                <a:gd name="T36" fmla="*/ 27 w 167"/>
                <a:gd name="T37" fmla="*/ 36 h 162"/>
                <a:gd name="T38" fmla="*/ 37 w 167"/>
                <a:gd name="T39" fmla="*/ 41 h 162"/>
                <a:gd name="T40" fmla="*/ 42 w 167"/>
                <a:gd name="T41" fmla="*/ 23 h 162"/>
                <a:gd name="T42" fmla="*/ 23 w 167"/>
                <a:gd name="T43" fmla="*/ 4 h 162"/>
                <a:gd name="T44" fmla="*/ 33 w 167"/>
                <a:gd name="T45" fmla="*/ 0 h 162"/>
                <a:gd name="T46" fmla="*/ 37 w 167"/>
                <a:gd name="T47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7" h="162">
                  <a:moveTo>
                    <a:pt x="37" y="0"/>
                  </a:moveTo>
                  <a:cubicBezTo>
                    <a:pt x="38" y="1"/>
                    <a:pt x="39" y="2"/>
                    <a:pt x="40" y="2"/>
                  </a:cubicBezTo>
                  <a:cubicBezTo>
                    <a:pt x="58" y="6"/>
                    <a:pt x="67" y="19"/>
                    <a:pt x="64" y="37"/>
                  </a:cubicBezTo>
                  <a:cubicBezTo>
                    <a:pt x="64" y="39"/>
                    <a:pt x="65" y="43"/>
                    <a:pt x="67" y="45"/>
                  </a:cubicBezTo>
                  <a:cubicBezTo>
                    <a:pt x="85" y="63"/>
                    <a:pt x="103" y="81"/>
                    <a:pt x="121" y="99"/>
                  </a:cubicBezTo>
                  <a:cubicBezTo>
                    <a:pt x="123" y="101"/>
                    <a:pt x="127" y="102"/>
                    <a:pt x="130" y="101"/>
                  </a:cubicBezTo>
                  <a:cubicBezTo>
                    <a:pt x="141" y="100"/>
                    <a:pt x="151" y="103"/>
                    <a:pt x="159" y="113"/>
                  </a:cubicBezTo>
                  <a:cubicBezTo>
                    <a:pt x="165" y="121"/>
                    <a:pt x="167" y="131"/>
                    <a:pt x="162" y="142"/>
                  </a:cubicBezTo>
                  <a:cubicBezTo>
                    <a:pt x="156" y="136"/>
                    <a:pt x="150" y="130"/>
                    <a:pt x="144" y="124"/>
                  </a:cubicBezTo>
                  <a:cubicBezTo>
                    <a:pt x="140" y="120"/>
                    <a:pt x="135" y="118"/>
                    <a:pt x="129" y="122"/>
                  </a:cubicBezTo>
                  <a:cubicBezTo>
                    <a:pt x="124" y="126"/>
                    <a:pt x="123" y="133"/>
                    <a:pt x="129" y="138"/>
                  </a:cubicBezTo>
                  <a:cubicBezTo>
                    <a:pt x="134" y="144"/>
                    <a:pt x="141" y="150"/>
                    <a:pt x="147" y="156"/>
                  </a:cubicBezTo>
                  <a:cubicBezTo>
                    <a:pt x="139" y="162"/>
                    <a:pt x="126" y="161"/>
                    <a:pt x="118" y="154"/>
                  </a:cubicBezTo>
                  <a:cubicBezTo>
                    <a:pt x="108" y="146"/>
                    <a:pt x="105" y="137"/>
                    <a:pt x="106" y="125"/>
                  </a:cubicBezTo>
                  <a:cubicBezTo>
                    <a:pt x="107" y="122"/>
                    <a:pt x="106" y="118"/>
                    <a:pt x="104" y="117"/>
                  </a:cubicBezTo>
                  <a:cubicBezTo>
                    <a:pt x="86" y="98"/>
                    <a:pt x="67" y="80"/>
                    <a:pt x="49" y="61"/>
                  </a:cubicBezTo>
                  <a:cubicBezTo>
                    <a:pt x="46" y="57"/>
                    <a:pt x="42" y="59"/>
                    <a:pt x="38" y="60"/>
                  </a:cubicBezTo>
                  <a:cubicBezTo>
                    <a:pt x="16" y="62"/>
                    <a:pt x="0" y="41"/>
                    <a:pt x="9" y="19"/>
                  </a:cubicBezTo>
                  <a:cubicBezTo>
                    <a:pt x="15" y="25"/>
                    <a:pt x="20" y="31"/>
                    <a:pt x="27" y="36"/>
                  </a:cubicBezTo>
                  <a:cubicBezTo>
                    <a:pt x="29" y="39"/>
                    <a:pt x="34" y="41"/>
                    <a:pt x="37" y="41"/>
                  </a:cubicBezTo>
                  <a:cubicBezTo>
                    <a:pt x="45" y="40"/>
                    <a:pt x="49" y="30"/>
                    <a:pt x="42" y="23"/>
                  </a:cubicBezTo>
                  <a:cubicBezTo>
                    <a:pt x="36" y="17"/>
                    <a:pt x="30" y="11"/>
                    <a:pt x="23" y="4"/>
                  </a:cubicBezTo>
                  <a:cubicBezTo>
                    <a:pt x="27" y="2"/>
                    <a:pt x="30" y="1"/>
                    <a:pt x="33" y="0"/>
                  </a:cubicBezTo>
                  <a:cubicBezTo>
                    <a:pt x="35" y="0"/>
                    <a:pt x="36" y="0"/>
                    <a:pt x="37" y="0"/>
                  </a:cubicBezTo>
                  <a:close/>
                </a:path>
              </a:pathLst>
            </a:custGeom>
            <a:solidFill>
              <a:srgbClr val="0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5110158" y="5491167"/>
              <a:ext cx="261937" cy="274638"/>
            </a:xfrm>
            <a:custGeom>
              <a:avLst/>
              <a:gdLst>
                <a:gd name="T0" fmla="*/ 0 w 73"/>
                <a:gd name="T1" fmla="*/ 56 h 77"/>
                <a:gd name="T2" fmla="*/ 24 w 73"/>
                <a:gd name="T3" fmla="*/ 29 h 77"/>
                <a:gd name="T4" fmla="*/ 53 w 73"/>
                <a:gd name="T5" fmla="*/ 0 h 77"/>
                <a:gd name="T6" fmla="*/ 73 w 73"/>
                <a:gd name="T7" fmla="*/ 22 h 77"/>
                <a:gd name="T8" fmla="*/ 25 w 73"/>
                <a:gd name="T9" fmla="*/ 69 h 77"/>
                <a:gd name="T10" fmla="*/ 2 w 73"/>
                <a:gd name="T11" fmla="*/ 63 h 77"/>
                <a:gd name="T12" fmla="*/ 0 w 73"/>
                <a:gd name="T13" fmla="*/ 61 h 77"/>
                <a:gd name="T14" fmla="*/ 0 w 73"/>
                <a:gd name="T15" fmla="*/ 5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7">
                  <a:moveTo>
                    <a:pt x="0" y="56"/>
                  </a:moveTo>
                  <a:cubicBezTo>
                    <a:pt x="8" y="47"/>
                    <a:pt x="16" y="38"/>
                    <a:pt x="24" y="29"/>
                  </a:cubicBezTo>
                  <a:cubicBezTo>
                    <a:pt x="34" y="19"/>
                    <a:pt x="43" y="10"/>
                    <a:pt x="53" y="0"/>
                  </a:cubicBezTo>
                  <a:cubicBezTo>
                    <a:pt x="59" y="8"/>
                    <a:pt x="66" y="14"/>
                    <a:pt x="73" y="22"/>
                  </a:cubicBezTo>
                  <a:cubicBezTo>
                    <a:pt x="58" y="37"/>
                    <a:pt x="42" y="53"/>
                    <a:pt x="25" y="69"/>
                  </a:cubicBezTo>
                  <a:cubicBezTo>
                    <a:pt x="17" y="77"/>
                    <a:pt x="6" y="74"/>
                    <a:pt x="2" y="63"/>
                  </a:cubicBezTo>
                  <a:cubicBezTo>
                    <a:pt x="1" y="62"/>
                    <a:pt x="0" y="62"/>
                    <a:pt x="0" y="61"/>
                  </a:cubicBezTo>
                  <a:cubicBezTo>
                    <a:pt x="0" y="59"/>
                    <a:pt x="0" y="58"/>
                    <a:pt x="0" y="56"/>
                  </a:cubicBezTo>
                  <a:close/>
                </a:path>
              </a:pathLst>
            </a:custGeom>
            <a:solidFill>
              <a:srgbClr val="0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auto">
            <a:xfrm>
              <a:off x="5443533" y="5187955"/>
              <a:ext cx="239712" cy="238125"/>
            </a:xfrm>
            <a:custGeom>
              <a:avLst/>
              <a:gdLst>
                <a:gd name="T0" fmla="*/ 67 w 67"/>
                <a:gd name="T1" fmla="*/ 9 h 67"/>
                <a:gd name="T2" fmla="*/ 58 w 67"/>
                <a:gd name="T3" fmla="*/ 27 h 67"/>
                <a:gd name="T4" fmla="*/ 53 w 67"/>
                <a:gd name="T5" fmla="*/ 32 h 67"/>
                <a:gd name="T6" fmla="*/ 11 w 67"/>
                <a:gd name="T7" fmla="*/ 65 h 67"/>
                <a:gd name="T8" fmla="*/ 9 w 67"/>
                <a:gd name="T9" fmla="*/ 67 h 67"/>
                <a:gd name="T10" fmla="*/ 0 w 67"/>
                <a:gd name="T11" fmla="*/ 57 h 67"/>
                <a:gd name="T12" fmla="*/ 12 w 67"/>
                <a:gd name="T13" fmla="*/ 45 h 67"/>
                <a:gd name="T14" fmla="*/ 33 w 67"/>
                <a:gd name="T15" fmla="*/ 15 h 67"/>
                <a:gd name="T16" fmla="*/ 56 w 67"/>
                <a:gd name="T17" fmla="*/ 1 h 67"/>
                <a:gd name="T18" fmla="*/ 67 w 67"/>
                <a:gd name="T19" fmla="*/ 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67" y="9"/>
                  </a:moveTo>
                  <a:cubicBezTo>
                    <a:pt x="64" y="15"/>
                    <a:pt x="61" y="21"/>
                    <a:pt x="58" y="27"/>
                  </a:cubicBezTo>
                  <a:cubicBezTo>
                    <a:pt x="57" y="29"/>
                    <a:pt x="55" y="31"/>
                    <a:pt x="53" y="32"/>
                  </a:cubicBezTo>
                  <a:cubicBezTo>
                    <a:pt x="36" y="38"/>
                    <a:pt x="24" y="52"/>
                    <a:pt x="11" y="65"/>
                  </a:cubicBezTo>
                  <a:cubicBezTo>
                    <a:pt x="10" y="65"/>
                    <a:pt x="10" y="66"/>
                    <a:pt x="9" y="67"/>
                  </a:cubicBezTo>
                  <a:cubicBezTo>
                    <a:pt x="6" y="64"/>
                    <a:pt x="3" y="61"/>
                    <a:pt x="0" y="57"/>
                  </a:cubicBezTo>
                  <a:cubicBezTo>
                    <a:pt x="3" y="53"/>
                    <a:pt x="7" y="49"/>
                    <a:pt x="12" y="45"/>
                  </a:cubicBezTo>
                  <a:cubicBezTo>
                    <a:pt x="21" y="36"/>
                    <a:pt x="28" y="27"/>
                    <a:pt x="33" y="15"/>
                  </a:cubicBezTo>
                  <a:cubicBezTo>
                    <a:pt x="37" y="6"/>
                    <a:pt x="48" y="4"/>
                    <a:pt x="56" y="1"/>
                  </a:cubicBezTo>
                  <a:cubicBezTo>
                    <a:pt x="58" y="0"/>
                    <a:pt x="63" y="6"/>
                    <a:pt x="67" y="9"/>
                  </a:cubicBezTo>
                  <a:close/>
                </a:path>
              </a:pathLst>
            </a:custGeom>
            <a:solidFill>
              <a:srgbClr val="00808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31" name="Picture 16" descr="Y:\IMD lite\Повышение экономической грамотности\Направление Обучение\МД и УМД\Источники информации\Иконки\chemistry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178" y="1685870"/>
            <a:ext cx="323277" cy="323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Freeform 739"/>
          <p:cNvSpPr>
            <a:spLocks noEditPoints="1"/>
          </p:cNvSpPr>
          <p:nvPr/>
        </p:nvSpPr>
        <p:spPr bwMode="auto">
          <a:xfrm>
            <a:off x="4572417" y="2249723"/>
            <a:ext cx="343640" cy="317927"/>
          </a:xfrm>
          <a:custGeom>
            <a:avLst/>
            <a:gdLst>
              <a:gd name="T0" fmla="*/ 20 w 196"/>
              <a:gd name="T1" fmla="*/ 153 h 186"/>
              <a:gd name="T2" fmla="*/ 90 w 196"/>
              <a:gd name="T3" fmla="*/ 144 h 186"/>
              <a:gd name="T4" fmla="*/ 107 w 196"/>
              <a:gd name="T5" fmla="*/ 159 h 186"/>
              <a:gd name="T6" fmla="*/ 176 w 196"/>
              <a:gd name="T7" fmla="*/ 45 h 186"/>
              <a:gd name="T8" fmla="*/ 181 w 196"/>
              <a:gd name="T9" fmla="*/ 39 h 186"/>
              <a:gd name="T10" fmla="*/ 184 w 196"/>
              <a:gd name="T11" fmla="*/ 52 h 186"/>
              <a:gd name="T12" fmla="*/ 110 w 196"/>
              <a:gd name="T13" fmla="*/ 178 h 186"/>
              <a:gd name="T14" fmla="*/ 86 w 196"/>
              <a:gd name="T15" fmla="*/ 178 h 186"/>
              <a:gd name="T16" fmla="*/ 13 w 196"/>
              <a:gd name="T17" fmla="*/ 52 h 186"/>
              <a:gd name="T18" fmla="*/ 15 w 196"/>
              <a:gd name="T19" fmla="*/ 39 h 186"/>
              <a:gd name="T20" fmla="*/ 73 w 196"/>
              <a:gd name="T21" fmla="*/ 91 h 186"/>
              <a:gd name="T22" fmla="*/ 98 w 196"/>
              <a:gd name="T23" fmla="*/ 126 h 186"/>
              <a:gd name="T24" fmla="*/ 122 w 196"/>
              <a:gd name="T25" fmla="*/ 91 h 186"/>
              <a:gd name="T26" fmla="*/ 92 w 196"/>
              <a:gd name="T27" fmla="*/ 82 h 186"/>
              <a:gd name="T28" fmla="*/ 92 w 196"/>
              <a:gd name="T29" fmla="*/ 53 h 186"/>
              <a:gd name="T30" fmla="*/ 98 w 196"/>
              <a:gd name="T31" fmla="*/ 51 h 186"/>
              <a:gd name="T32" fmla="*/ 104 w 196"/>
              <a:gd name="T33" fmla="*/ 53 h 186"/>
              <a:gd name="T34" fmla="*/ 108 w 196"/>
              <a:gd name="T35" fmla="*/ 83 h 186"/>
              <a:gd name="T36" fmla="*/ 114 w 196"/>
              <a:gd name="T37" fmla="*/ 49 h 186"/>
              <a:gd name="T38" fmla="*/ 93 w 196"/>
              <a:gd name="T39" fmla="*/ 49 h 186"/>
              <a:gd name="T40" fmla="*/ 81 w 196"/>
              <a:gd name="T41" fmla="*/ 50 h 186"/>
              <a:gd name="T42" fmla="*/ 72 w 196"/>
              <a:gd name="T43" fmla="*/ 83 h 186"/>
              <a:gd name="T44" fmla="*/ 68 w 196"/>
              <a:gd name="T45" fmla="*/ 34 h 186"/>
              <a:gd name="T46" fmla="*/ 114 w 196"/>
              <a:gd name="T47" fmla="*/ 16 h 186"/>
              <a:gd name="T48" fmla="*/ 111 w 196"/>
              <a:gd name="T49" fmla="*/ 83 h 186"/>
              <a:gd name="T50" fmla="*/ 139 w 196"/>
              <a:gd name="T51" fmla="*/ 31 h 186"/>
              <a:gd name="T52" fmla="*/ 77 w 196"/>
              <a:gd name="T53" fmla="*/ 5 h 186"/>
              <a:gd name="T54" fmla="*/ 72 w 196"/>
              <a:gd name="T55" fmla="*/ 83 h 186"/>
              <a:gd name="T56" fmla="*/ 169 w 196"/>
              <a:gd name="T57" fmla="*/ 61 h 186"/>
              <a:gd name="T58" fmla="*/ 128 w 196"/>
              <a:gd name="T59" fmla="*/ 135 h 186"/>
              <a:gd name="T60" fmla="*/ 169 w 196"/>
              <a:gd name="T61" fmla="*/ 137 h 186"/>
              <a:gd name="T62" fmla="*/ 128 w 196"/>
              <a:gd name="T63" fmla="*/ 135 h 186"/>
              <a:gd name="T64" fmla="*/ 145 w 196"/>
              <a:gd name="T65" fmla="*/ 125 h 186"/>
              <a:gd name="T66" fmla="*/ 145 w 196"/>
              <a:gd name="T67" fmla="*/ 120 h 186"/>
              <a:gd name="T68" fmla="*/ 139 w 196"/>
              <a:gd name="T69" fmla="*/ 83 h 186"/>
              <a:gd name="T70" fmla="*/ 145 w 196"/>
              <a:gd name="T71" fmla="*/ 86 h 186"/>
              <a:gd name="T72" fmla="*/ 145 w 196"/>
              <a:gd name="T73" fmla="*/ 81 h 186"/>
              <a:gd name="T74" fmla="*/ 143 w 196"/>
              <a:gd name="T75" fmla="*/ 74 h 186"/>
              <a:gd name="T76" fmla="*/ 169 w 196"/>
              <a:gd name="T77" fmla="*/ 69 h 186"/>
              <a:gd name="T78" fmla="*/ 28 w 196"/>
              <a:gd name="T79" fmla="*/ 57 h 186"/>
              <a:gd name="T80" fmla="*/ 44 w 196"/>
              <a:gd name="T81" fmla="*/ 56 h 186"/>
              <a:gd name="T82" fmla="*/ 28 w 196"/>
              <a:gd name="T83" fmla="*/ 132 h 186"/>
              <a:gd name="T84" fmla="*/ 68 w 196"/>
              <a:gd name="T85" fmla="*/ 139 h 186"/>
              <a:gd name="T86" fmla="*/ 52 w 196"/>
              <a:gd name="T87" fmla="*/ 120 h 186"/>
              <a:gd name="T88" fmla="*/ 51 w 196"/>
              <a:gd name="T89" fmla="*/ 125 h 186"/>
              <a:gd name="T90" fmla="*/ 56 w 196"/>
              <a:gd name="T91" fmla="*/ 82 h 186"/>
              <a:gd name="T92" fmla="*/ 28 w 196"/>
              <a:gd name="T93" fmla="*/ 86 h 186"/>
              <a:gd name="T94" fmla="*/ 56 w 196"/>
              <a:gd name="T95" fmla="*/ 82 h 186"/>
              <a:gd name="T96" fmla="*/ 28 w 196"/>
              <a:gd name="T97" fmla="*/ 74 h 186"/>
              <a:gd name="T98" fmla="*/ 50 w 196"/>
              <a:gd name="T99" fmla="*/ 69 h 1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96" h="186">
                <a:moveTo>
                  <a:pt x="41" y="42"/>
                </a:moveTo>
                <a:cubicBezTo>
                  <a:pt x="33" y="42"/>
                  <a:pt x="26" y="43"/>
                  <a:pt x="20" y="45"/>
                </a:cubicBezTo>
                <a:cubicBezTo>
                  <a:pt x="20" y="153"/>
                  <a:pt x="20" y="153"/>
                  <a:pt x="20" y="153"/>
                </a:cubicBezTo>
                <a:cubicBezTo>
                  <a:pt x="42" y="149"/>
                  <a:pt x="64" y="154"/>
                  <a:pt x="86" y="159"/>
                </a:cubicBezTo>
                <a:cubicBezTo>
                  <a:pt x="90" y="159"/>
                  <a:pt x="90" y="159"/>
                  <a:pt x="90" y="159"/>
                </a:cubicBezTo>
                <a:cubicBezTo>
                  <a:pt x="90" y="144"/>
                  <a:pt x="90" y="144"/>
                  <a:pt x="90" y="144"/>
                </a:cubicBezTo>
                <a:cubicBezTo>
                  <a:pt x="92" y="145"/>
                  <a:pt x="95" y="146"/>
                  <a:pt x="98" y="146"/>
                </a:cubicBezTo>
                <a:cubicBezTo>
                  <a:pt x="101" y="146"/>
                  <a:pt x="104" y="145"/>
                  <a:pt x="107" y="144"/>
                </a:cubicBezTo>
                <a:cubicBezTo>
                  <a:pt x="107" y="159"/>
                  <a:pt x="107" y="159"/>
                  <a:pt x="107" y="159"/>
                </a:cubicBezTo>
                <a:cubicBezTo>
                  <a:pt x="110" y="159"/>
                  <a:pt x="110" y="159"/>
                  <a:pt x="110" y="159"/>
                </a:cubicBezTo>
                <a:cubicBezTo>
                  <a:pt x="132" y="154"/>
                  <a:pt x="154" y="149"/>
                  <a:pt x="176" y="153"/>
                </a:cubicBezTo>
                <a:cubicBezTo>
                  <a:pt x="176" y="45"/>
                  <a:pt x="176" y="45"/>
                  <a:pt x="176" y="45"/>
                </a:cubicBezTo>
                <a:cubicBezTo>
                  <a:pt x="170" y="43"/>
                  <a:pt x="162" y="42"/>
                  <a:pt x="154" y="43"/>
                </a:cubicBezTo>
                <a:cubicBezTo>
                  <a:pt x="155" y="40"/>
                  <a:pt x="155" y="38"/>
                  <a:pt x="155" y="35"/>
                </a:cubicBezTo>
                <a:cubicBezTo>
                  <a:pt x="165" y="35"/>
                  <a:pt x="174" y="36"/>
                  <a:pt x="181" y="39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84" y="42"/>
                  <a:pt x="184" y="42"/>
                  <a:pt x="184" y="42"/>
                </a:cubicBezTo>
                <a:cubicBezTo>
                  <a:pt x="184" y="52"/>
                  <a:pt x="184" y="52"/>
                  <a:pt x="184" y="52"/>
                </a:cubicBezTo>
                <a:cubicBezTo>
                  <a:pt x="196" y="55"/>
                  <a:pt x="196" y="55"/>
                  <a:pt x="196" y="55"/>
                </a:cubicBezTo>
                <a:cubicBezTo>
                  <a:pt x="196" y="177"/>
                  <a:pt x="196" y="177"/>
                  <a:pt x="196" y="177"/>
                </a:cubicBezTo>
                <a:cubicBezTo>
                  <a:pt x="176" y="174"/>
                  <a:pt x="157" y="170"/>
                  <a:pt x="110" y="178"/>
                </a:cubicBezTo>
                <a:cubicBezTo>
                  <a:pt x="110" y="182"/>
                  <a:pt x="110" y="182"/>
                  <a:pt x="110" y="182"/>
                </a:cubicBezTo>
                <a:cubicBezTo>
                  <a:pt x="96" y="186"/>
                  <a:pt x="101" y="186"/>
                  <a:pt x="86" y="182"/>
                </a:cubicBezTo>
                <a:cubicBezTo>
                  <a:pt x="86" y="178"/>
                  <a:pt x="86" y="178"/>
                  <a:pt x="86" y="178"/>
                </a:cubicBezTo>
                <a:cubicBezTo>
                  <a:pt x="40" y="170"/>
                  <a:pt x="21" y="174"/>
                  <a:pt x="0" y="177"/>
                </a:cubicBezTo>
                <a:cubicBezTo>
                  <a:pt x="0" y="55"/>
                  <a:pt x="0" y="55"/>
                  <a:pt x="0" y="55"/>
                </a:cubicBezTo>
                <a:cubicBezTo>
                  <a:pt x="13" y="52"/>
                  <a:pt x="13" y="52"/>
                  <a:pt x="13" y="52"/>
                </a:cubicBezTo>
                <a:cubicBezTo>
                  <a:pt x="13" y="42"/>
                  <a:pt x="13" y="42"/>
                  <a:pt x="13" y="42"/>
                </a:cubicBezTo>
                <a:cubicBezTo>
                  <a:pt x="13" y="40"/>
                  <a:pt x="13" y="40"/>
                  <a:pt x="13" y="40"/>
                </a:cubicBezTo>
                <a:cubicBezTo>
                  <a:pt x="15" y="39"/>
                  <a:pt x="15" y="39"/>
                  <a:pt x="15" y="39"/>
                </a:cubicBezTo>
                <a:cubicBezTo>
                  <a:pt x="23" y="36"/>
                  <a:pt x="31" y="35"/>
                  <a:pt x="40" y="35"/>
                </a:cubicBezTo>
                <a:cubicBezTo>
                  <a:pt x="40" y="38"/>
                  <a:pt x="40" y="40"/>
                  <a:pt x="41" y="42"/>
                </a:cubicBezTo>
                <a:close/>
                <a:moveTo>
                  <a:pt x="73" y="91"/>
                </a:moveTo>
                <a:cubicBezTo>
                  <a:pt x="79" y="119"/>
                  <a:pt x="79" y="119"/>
                  <a:pt x="79" y="119"/>
                </a:cubicBezTo>
                <a:cubicBezTo>
                  <a:pt x="89" y="119"/>
                  <a:pt x="89" y="119"/>
                  <a:pt x="89" y="119"/>
                </a:cubicBezTo>
                <a:cubicBezTo>
                  <a:pt x="90" y="123"/>
                  <a:pt x="94" y="126"/>
                  <a:pt x="98" y="126"/>
                </a:cubicBezTo>
                <a:cubicBezTo>
                  <a:pt x="103" y="126"/>
                  <a:pt x="107" y="123"/>
                  <a:pt x="107" y="119"/>
                </a:cubicBezTo>
                <a:cubicBezTo>
                  <a:pt x="116" y="119"/>
                  <a:pt x="116" y="119"/>
                  <a:pt x="116" y="119"/>
                </a:cubicBezTo>
                <a:cubicBezTo>
                  <a:pt x="122" y="91"/>
                  <a:pt x="122" y="91"/>
                  <a:pt x="122" y="91"/>
                </a:cubicBezTo>
                <a:lnTo>
                  <a:pt x="73" y="91"/>
                </a:lnTo>
                <a:close/>
                <a:moveTo>
                  <a:pt x="88" y="83"/>
                </a:moveTo>
                <a:cubicBezTo>
                  <a:pt x="92" y="82"/>
                  <a:pt x="92" y="82"/>
                  <a:pt x="92" y="82"/>
                </a:cubicBezTo>
                <a:cubicBezTo>
                  <a:pt x="86" y="52"/>
                  <a:pt x="86" y="52"/>
                  <a:pt x="86" y="52"/>
                </a:cubicBezTo>
                <a:cubicBezTo>
                  <a:pt x="86" y="52"/>
                  <a:pt x="87" y="52"/>
                  <a:pt x="88" y="52"/>
                </a:cubicBezTo>
                <a:cubicBezTo>
                  <a:pt x="89" y="52"/>
                  <a:pt x="91" y="52"/>
                  <a:pt x="92" y="53"/>
                </a:cubicBezTo>
                <a:cubicBezTo>
                  <a:pt x="94" y="54"/>
                  <a:pt x="94" y="54"/>
                  <a:pt x="94" y="54"/>
                </a:cubicBezTo>
                <a:cubicBezTo>
                  <a:pt x="95" y="53"/>
                  <a:pt x="95" y="53"/>
                  <a:pt x="95" y="53"/>
                </a:cubicBezTo>
                <a:cubicBezTo>
                  <a:pt x="96" y="52"/>
                  <a:pt x="97" y="51"/>
                  <a:pt x="98" y="51"/>
                </a:cubicBezTo>
                <a:cubicBezTo>
                  <a:pt x="99" y="51"/>
                  <a:pt x="100" y="52"/>
                  <a:pt x="102" y="53"/>
                </a:cubicBezTo>
                <a:cubicBezTo>
                  <a:pt x="103" y="54"/>
                  <a:pt x="103" y="54"/>
                  <a:pt x="103" y="54"/>
                </a:cubicBezTo>
                <a:cubicBezTo>
                  <a:pt x="104" y="53"/>
                  <a:pt x="104" y="53"/>
                  <a:pt x="104" y="53"/>
                </a:cubicBezTo>
                <a:cubicBezTo>
                  <a:pt x="106" y="52"/>
                  <a:pt x="108" y="52"/>
                  <a:pt x="110" y="52"/>
                </a:cubicBezTo>
                <a:cubicBezTo>
                  <a:pt x="104" y="82"/>
                  <a:pt x="104" y="82"/>
                  <a:pt x="104" y="82"/>
                </a:cubicBezTo>
                <a:cubicBezTo>
                  <a:pt x="108" y="83"/>
                  <a:pt x="108" y="83"/>
                  <a:pt x="108" y="83"/>
                </a:cubicBezTo>
                <a:cubicBezTo>
                  <a:pt x="115" y="52"/>
                  <a:pt x="115" y="52"/>
                  <a:pt x="115" y="52"/>
                </a:cubicBezTo>
                <a:cubicBezTo>
                  <a:pt x="115" y="50"/>
                  <a:pt x="115" y="50"/>
                  <a:pt x="115" y="50"/>
                </a:cubicBezTo>
                <a:cubicBezTo>
                  <a:pt x="114" y="49"/>
                  <a:pt x="114" y="49"/>
                  <a:pt x="114" y="49"/>
                </a:cubicBezTo>
                <a:cubicBezTo>
                  <a:pt x="110" y="47"/>
                  <a:pt x="107" y="47"/>
                  <a:pt x="103" y="49"/>
                </a:cubicBezTo>
                <a:cubicBezTo>
                  <a:pt x="102" y="48"/>
                  <a:pt x="100" y="47"/>
                  <a:pt x="98" y="47"/>
                </a:cubicBezTo>
                <a:cubicBezTo>
                  <a:pt x="96" y="47"/>
                  <a:pt x="95" y="47"/>
                  <a:pt x="93" y="49"/>
                </a:cubicBezTo>
                <a:cubicBezTo>
                  <a:pt x="91" y="48"/>
                  <a:pt x="90" y="47"/>
                  <a:pt x="88" y="47"/>
                </a:cubicBezTo>
                <a:cubicBezTo>
                  <a:pt x="86" y="47"/>
                  <a:pt x="84" y="48"/>
                  <a:pt x="82" y="50"/>
                </a:cubicBezTo>
                <a:cubicBezTo>
                  <a:pt x="81" y="50"/>
                  <a:pt x="81" y="50"/>
                  <a:pt x="81" y="50"/>
                </a:cubicBezTo>
                <a:cubicBezTo>
                  <a:pt x="81" y="52"/>
                  <a:pt x="81" y="52"/>
                  <a:pt x="81" y="52"/>
                </a:cubicBezTo>
                <a:lnTo>
                  <a:pt x="88" y="83"/>
                </a:lnTo>
                <a:close/>
                <a:moveTo>
                  <a:pt x="72" y="83"/>
                </a:moveTo>
                <a:cubicBezTo>
                  <a:pt x="84" y="83"/>
                  <a:pt x="84" y="83"/>
                  <a:pt x="84" y="83"/>
                </a:cubicBezTo>
                <a:cubicBezTo>
                  <a:pt x="82" y="73"/>
                  <a:pt x="78" y="65"/>
                  <a:pt x="74" y="57"/>
                </a:cubicBezTo>
                <a:cubicBezTo>
                  <a:pt x="70" y="48"/>
                  <a:pt x="66" y="40"/>
                  <a:pt x="68" y="34"/>
                </a:cubicBezTo>
                <a:cubicBezTo>
                  <a:pt x="70" y="25"/>
                  <a:pt x="75" y="19"/>
                  <a:pt x="82" y="15"/>
                </a:cubicBezTo>
                <a:cubicBezTo>
                  <a:pt x="87" y="13"/>
                  <a:pt x="92" y="12"/>
                  <a:pt x="98" y="12"/>
                </a:cubicBezTo>
                <a:cubicBezTo>
                  <a:pt x="104" y="12"/>
                  <a:pt x="109" y="13"/>
                  <a:pt x="114" y="16"/>
                </a:cubicBezTo>
                <a:cubicBezTo>
                  <a:pt x="121" y="19"/>
                  <a:pt x="126" y="25"/>
                  <a:pt x="127" y="33"/>
                </a:cubicBezTo>
                <a:cubicBezTo>
                  <a:pt x="128" y="40"/>
                  <a:pt x="125" y="48"/>
                  <a:pt x="121" y="56"/>
                </a:cubicBezTo>
                <a:cubicBezTo>
                  <a:pt x="117" y="65"/>
                  <a:pt x="113" y="73"/>
                  <a:pt x="111" y="83"/>
                </a:cubicBezTo>
                <a:cubicBezTo>
                  <a:pt x="123" y="83"/>
                  <a:pt x="123" y="83"/>
                  <a:pt x="123" y="83"/>
                </a:cubicBezTo>
                <a:cubicBezTo>
                  <a:pt x="125" y="76"/>
                  <a:pt x="128" y="68"/>
                  <a:pt x="131" y="61"/>
                </a:cubicBezTo>
                <a:cubicBezTo>
                  <a:pt x="136" y="51"/>
                  <a:pt x="141" y="42"/>
                  <a:pt x="139" y="31"/>
                </a:cubicBezTo>
                <a:cubicBezTo>
                  <a:pt x="137" y="19"/>
                  <a:pt x="129" y="11"/>
                  <a:pt x="119" y="6"/>
                </a:cubicBezTo>
                <a:cubicBezTo>
                  <a:pt x="113" y="2"/>
                  <a:pt x="106" y="0"/>
                  <a:pt x="98" y="0"/>
                </a:cubicBezTo>
                <a:cubicBezTo>
                  <a:pt x="91" y="0"/>
                  <a:pt x="83" y="2"/>
                  <a:pt x="77" y="5"/>
                </a:cubicBezTo>
                <a:cubicBezTo>
                  <a:pt x="67" y="10"/>
                  <a:pt x="59" y="19"/>
                  <a:pt x="56" y="31"/>
                </a:cubicBezTo>
                <a:cubicBezTo>
                  <a:pt x="54" y="42"/>
                  <a:pt x="59" y="51"/>
                  <a:pt x="64" y="62"/>
                </a:cubicBezTo>
                <a:cubicBezTo>
                  <a:pt x="67" y="68"/>
                  <a:pt x="70" y="76"/>
                  <a:pt x="72" y="83"/>
                </a:cubicBezTo>
                <a:close/>
                <a:moveTo>
                  <a:pt x="151" y="56"/>
                </a:moveTo>
                <a:cubicBezTo>
                  <a:pt x="150" y="57"/>
                  <a:pt x="150" y="59"/>
                  <a:pt x="149" y="60"/>
                </a:cubicBezTo>
                <a:cubicBezTo>
                  <a:pt x="157" y="60"/>
                  <a:pt x="164" y="60"/>
                  <a:pt x="169" y="61"/>
                </a:cubicBezTo>
                <a:cubicBezTo>
                  <a:pt x="169" y="57"/>
                  <a:pt x="169" y="57"/>
                  <a:pt x="169" y="57"/>
                </a:cubicBezTo>
                <a:cubicBezTo>
                  <a:pt x="164" y="55"/>
                  <a:pt x="158" y="55"/>
                  <a:pt x="151" y="56"/>
                </a:cubicBezTo>
                <a:close/>
                <a:moveTo>
                  <a:pt x="128" y="135"/>
                </a:moveTo>
                <a:cubicBezTo>
                  <a:pt x="127" y="139"/>
                  <a:pt x="127" y="139"/>
                  <a:pt x="127" y="139"/>
                </a:cubicBezTo>
                <a:cubicBezTo>
                  <a:pt x="133" y="138"/>
                  <a:pt x="140" y="137"/>
                  <a:pt x="145" y="136"/>
                </a:cubicBezTo>
                <a:cubicBezTo>
                  <a:pt x="155" y="135"/>
                  <a:pt x="163" y="135"/>
                  <a:pt x="169" y="137"/>
                </a:cubicBezTo>
                <a:cubicBezTo>
                  <a:pt x="169" y="132"/>
                  <a:pt x="169" y="132"/>
                  <a:pt x="169" y="132"/>
                </a:cubicBezTo>
                <a:cubicBezTo>
                  <a:pt x="162" y="131"/>
                  <a:pt x="154" y="131"/>
                  <a:pt x="145" y="132"/>
                </a:cubicBezTo>
                <a:cubicBezTo>
                  <a:pt x="139" y="133"/>
                  <a:pt x="134" y="134"/>
                  <a:pt x="128" y="135"/>
                </a:cubicBezTo>
                <a:close/>
                <a:moveTo>
                  <a:pt x="130" y="123"/>
                </a:moveTo>
                <a:cubicBezTo>
                  <a:pt x="129" y="128"/>
                  <a:pt x="129" y="128"/>
                  <a:pt x="129" y="128"/>
                </a:cubicBezTo>
                <a:cubicBezTo>
                  <a:pt x="135" y="126"/>
                  <a:pt x="140" y="125"/>
                  <a:pt x="145" y="125"/>
                </a:cubicBezTo>
                <a:cubicBezTo>
                  <a:pt x="155" y="124"/>
                  <a:pt x="163" y="124"/>
                  <a:pt x="169" y="125"/>
                </a:cubicBezTo>
                <a:cubicBezTo>
                  <a:pt x="169" y="121"/>
                  <a:pt x="169" y="121"/>
                  <a:pt x="169" y="121"/>
                </a:cubicBezTo>
                <a:cubicBezTo>
                  <a:pt x="162" y="119"/>
                  <a:pt x="154" y="119"/>
                  <a:pt x="145" y="120"/>
                </a:cubicBezTo>
                <a:cubicBezTo>
                  <a:pt x="140" y="121"/>
                  <a:pt x="135" y="122"/>
                  <a:pt x="130" y="123"/>
                </a:cubicBezTo>
                <a:close/>
                <a:moveTo>
                  <a:pt x="139" y="82"/>
                </a:moveTo>
                <a:cubicBezTo>
                  <a:pt x="139" y="82"/>
                  <a:pt x="139" y="83"/>
                  <a:pt x="139" y="83"/>
                </a:cubicBezTo>
                <a:cubicBezTo>
                  <a:pt x="140" y="83"/>
                  <a:pt x="140" y="83"/>
                  <a:pt x="140" y="83"/>
                </a:cubicBezTo>
                <a:cubicBezTo>
                  <a:pt x="139" y="87"/>
                  <a:pt x="139" y="87"/>
                  <a:pt x="139" y="87"/>
                </a:cubicBezTo>
                <a:cubicBezTo>
                  <a:pt x="141" y="86"/>
                  <a:pt x="143" y="86"/>
                  <a:pt x="145" y="86"/>
                </a:cubicBezTo>
                <a:cubicBezTo>
                  <a:pt x="155" y="85"/>
                  <a:pt x="163" y="84"/>
                  <a:pt x="169" y="86"/>
                </a:cubicBezTo>
                <a:cubicBezTo>
                  <a:pt x="169" y="82"/>
                  <a:pt x="169" y="82"/>
                  <a:pt x="169" y="82"/>
                </a:cubicBezTo>
                <a:cubicBezTo>
                  <a:pt x="162" y="80"/>
                  <a:pt x="154" y="80"/>
                  <a:pt x="145" y="81"/>
                </a:cubicBezTo>
                <a:cubicBezTo>
                  <a:pt x="143" y="82"/>
                  <a:pt x="141" y="82"/>
                  <a:pt x="139" y="82"/>
                </a:cubicBezTo>
                <a:close/>
                <a:moveTo>
                  <a:pt x="145" y="69"/>
                </a:moveTo>
                <a:cubicBezTo>
                  <a:pt x="144" y="70"/>
                  <a:pt x="144" y="72"/>
                  <a:pt x="143" y="74"/>
                </a:cubicBezTo>
                <a:cubicBezTo>
                  <a:pt x="144" y="74"/>
                  <a:pt x="145" y="73"/>
                  <a:pt x="145" y="73"/>
                </a:cubicBezTo>
                <a:cubicBezTo>
                  <a:pt x="155" y="72"/>
                  <a:pt x="163" y="72"/>
                  <a:pt x="169" y="74"/>
                </a:cubicBezTo>
                <a:cubicBezTo>
                  <a:pt x="169" y="69"/>
                  <a:pt x="169" y="69"/>
                  <a:pt x="169" y="69"/>
                </a:cubicBezTo>
                <a:cubicBezTo>
                  <a:pt x="162" y="68"/>
                  <a:pt x="154" y="68"/>
                  <a:pt x="145" y="69"/>
                </a:cubicBezTo>
                <a:close/>
                <a:moveTo>
                  <a:pt x="44" y="56"/>
                </a:moveTo>
                <a:cubicBezTo>
                  <a:pt x="38" y="55"/>
                  <a:pt x="32" y="55"/>
                  <a:pt x="28" y="57"/>
                </a:cubicBezTo>
                <a:cubicBezTo>
                  <a:pt x="28" y="61"/>
                  <a:pt x="28" y="61"/>
                  <a:pt x="28" y="61"/>
                </a:cubicBezTo>
                <a:cubicBezTo>
                  <a:pt x="33" y="60"/>
                  <a:pt x="39" y="60"/>
                  <a:pt x="46" y="60"/>
                </a:cubicBezTo>
                <a:cubicBezTo>
                  <a:pt x="45" y="59"/>
                  <a:pt x="45" y="57"/>
                  <a:pt x="44" y="56"/>
                </a:cubicBezTo>
                <a:close/>
                <a:moveTo>
                  <a:pt x="68" y="134"/>
                </a:moveTo>
                <a:cubicBezTo>
                  <a:pt x="62" y="133"/>
                  <a:pt x="57" y="132"/>
                  <a:pt x="52" y="132"/>
                </a:cubicBezTo>
                <a:cubicBezTo>
                  <a:pt x="43" y="131"/>
                  <a:pt x="34" y="131"/>
                  <a:pt x="28" y="132"/>
                </a:cubicBezTo>
                <a:cubicBezTo>
                  <a:pt x="28" y="137"/>
                  <a:pt x="28" y="137"/>
                  <a:pt x="28" y="137"/>
                </a:cubicBezTo>
                <a:cubicBezTo>
                  <a:pt x="34" y="135"/>
                  <a:pt x="42" y="135"/>
                  <a:pt x="51" y="136"/>
                </a:cubicBezTo>
                <a:cubicBezTo>
                  <a:pt x="57" y="137"/>
                  <a:pt x="62" y="138"/>
                  <a:pt x="68" y="139"/>
                </a:cubicBezTo>
                <a:lnTo>
                  <a:pt x="68" y="134"/>
                </a:lnTo>
                <a:close/>
                <a:moveTo>
                  <a:pt x="65" y="123"/>
                </a:moveTo>
                <a:cubicBezTo>
                  <a:pt x="60" y="122"/>
                  <a:pt x="56" y="121"/>
                  <a:pt x="52" y="120"/>
                </a:cubicBezTo>
                <a:cubicBezTo>
                  <a:pt x="43" y="119"/>
                  <a:pt x="34" y="119"/>
                  <a:pt x="28" y="121"/>
                </a:cubicBezTo>
                <a:cubicBezTo>
                  <a:pt x="28" y="125"/>
                  <a:pt x="28" y="125"/>
                  <a:pt x="28" y="125"/>
                </a:cubicBezTo>
                <a:cubicBezTo>
                  <a:pt x="34" y="124"/>
                  <a:pt x="42" y="124"/>
                  <a:pt x="51" y="125"/>
                </a:cubicBezTo>
                <a:cubicBezTo>
                  <a:pt x="56" y="125"/>
                  <a:pt x="61" y="126"/>
                  <a:pt x="66" y="127"/>
                </a:cubicBezTo>
                <a:lnTo>
                  <a:pt x="65" y="123"/>
                </a:lnTo>
                <a:close/>
                <a:moveTo>
                  <a:pt x="56" y="82"/>
                </a:moveTo>
                <a:cubicBezTo>
                  <a:pt x="54" y="82"/>
                  <a:pt x="53" y="82"/>
                  <a:pt x="52" y="81"/>
                </a:cubicBezTo>
                <a:cubicBezTo>
                  <a:pt x="43" y="80"/>
                  <a:pt x="34" y="80"/>
                  <a:pt x="28" y="82"/>
                </a:cubicBezTo>
                <a:cubicBezTo>
                  <a:pt x="28" y="86"/>
                  <a:pt x="28" y="86"/>
                  <a:pt x="28" y="86"/>
                </a:cubicBezTo>
                <a:cubicBezTo>
                  <a:pt x="34" y="84"/>
                  <a:pt x="42" y="85"/>
                  <a:pt x="51" y="86"/>
                </a:cubicBezTo>
                <a:cubicBezTo>
                  <a:pt x="53" y="86"/>
                  <a:pt x="55" y="86"/>
                  <a:pt x="57" y="87"/>
                </a:cubicBezTo>
                <a:cubicBezTo>
                  <a:pt x="57" y="85"/>
                  <a:pt x="56" y="83"/>
                  <a:pt x="56" y="82"/>
                </a:cubicBezTo>
                <a:close/>
                <a:moveTo>
                  <a:pt x="50" y="69"/>
                </a:moveTo>
                <a:cubicBezTo>
                  <a:pt x="41" y="68"/>
                  <a:pt x="34" y="68"/>
                  <a:pt x="28" y="69"/>
                </a:cubicBezTo>
                <a:cubicBezTo>
                  <a:pt x="28" y="74"/>
                  <a:pt x="28" y="74"/>
                  <a:pt x="28" y="74"/>
                </a:cubicBezTo>
                <a:cubicBezTo>
                  <a:pt x="34" y="72"/>
                  <a:pt x="42" y="72"/>
                  <a:pt x="51" y="73"/>
                </a:cubicBezTo>
                <a:cubicBezTo>
                  <a:pt x="52" y="73"/>
                  <a:pt x="52" y="73"/>
                  <a:pt x="52" y="73"/>
                </a:cubicBezTo>
                <a:cubicBezTo>
                  <a:pt x="51" y="72"/>
                  <a:pt x="51" y="71"/>
                  <a:pt x="50" y="69"/>
                </a:cubicBezTo>
                <a:close/>
              </a:path>
            </a:pathLst>
          </a:custGeom>
          <a:solidFill>
            <a:srgbClr val="00808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grpSp>
        <p:nvGrpSpPr>
          <p:cNvPr id="33" name="Группа 32"/>
          <p:cNvGrpSpPr/>
          <p:nvPr/>
        </p:nvGrpSpPr>
        <p:grpSpPr>
          <a:xfrm>
            <a:off x="4543403" y="3418296"/>
            <a:ext cx="335891" cy="263600"/>
            <a:chOff x="2461181" y="3691837"/>
            <a:chExt cx="758261" cy="915441"/>
          </a:xfrm>
        </p:grpSpPr>
        <p:sp>
          <p:nvSpPr>
            <p:cNvPr id="34" name="Freeform 25"/>
            <p:cNvSpPr>
              <a:spLocks noChangeArrowheads="1"/>
            </p:cNvSpPr>
            <p:nvPr/>
          </p:nvSpPr>
          <p:spPr bwMode="auto">
            <a:xfrm>
              <a:off x="2461181" y="3965246"/>
              <a:ext cx="758261" cy="642032"/>
            </a:xfrm>
            <a:custGeom>
              <a:avLst/>
              <a:gdLst>
                <a:gd name="T0" fmla="*/ 7586 w 602"/>
                <a:gd name="T1" fmla="*/ 183789 h 510"/>
                <a:gd name="T2" fmla="*/ 7586 w 602"/>
                <a:gd name="T3" fmla="*/ 183789 h 510"/>
                <a:gd name="T4" fmla="*/ 209531 w 602"/>
                <a:gd name="T5" fmla="*/ 183789 h 510"/>
                <a:gd name="T6" fmla="*/ 217118 w 602"/>
                <a:gd name="T7" fmla="*/ 176206 h 510"/>
                <a:gd name="T8" fmla="*/ 217118 w 602"/>
                <a:gd name="T9" fmla="*/ 173679 h 510"/>
                <a:gd name="T10" fmla="*/ 209531 w 602"/>
                <a:gd name="T11" fmla="*/ 163207 h 510"/>
                <a:gd name="T12" fmla="*/ 7586 w 602"/>
                <a:gd name="T13" fmla="*/ 163207 h 510"/>
                <a:gd name="T14" fmla="*/ 0 w 602"/>
                <a:gd name="T15" fmla="*/ 173679 h 510"/>
                <a:gd name="T16" fmla="*/ 0 w 602"/>
                <a:gd name="T17" fmla="*/ 176206 h 510"/>
                <a:gd name="T18" fmla="*/ 7586 w 602"/>
                <a:gd name="T19" fmla="*/ 183789 h 510"/>
                <a:gd name="T20" fmla="*/ 40822 w 602"/>
                <a:gd name="T21" fmla="*/ 153097 h 510"/>
                <a:gd name="T22" fmla="*/ 40822 w 602"/>
                <a:gd name="T23" fmla="*/ 153097 h 510"/>
                <a:gd name="T24" fmla="*/ 61414 w 602"/>
                <a:gd name="T25" fmla="*/ 153097 h 510"/>
                <a:gd name="T26" fmla="*/ 71530 w 602"/>
                <a:gd name="T27" fmla="*/ 142987 h 510"/>
                <a:gd name="T28" fmla="*/ 71530 w 602"/>
                <a:gd name="T29" fmla="*/ 10110 h 510"/>
                <a:gd name="T30" fmla="*/ 61414 w 602"/>
                <a:gd name="T31" fmla="*/ 0 h 510"/>
                <a:gd name="T32" fmla="*/ 40822 w 602"/>
                <a:gd name="T33" fmla="*/ 0 h 510"/>
                <a:gd name="T34" fmla="*/ 30707 w 602"/>
                <a:gd name="T35" fmla="*/ 10110 h 510"/>
                <a:gd name="T36" fmla="*/ 30707 w 602"/>
                <a:gd name="T37" fmla="*/ 142987 h 510"/>
                <a:gd name="T38" fmla="*/ 40822 w 602"/>
                <a:gd name="T39" fmla="*/ 153097 h 510"/>
                <a:gd name="T40" fmla="*/ 97179 w 602"/>
                <a:gd name="T41" fmla="*/ 153097 h 510"/>
                <a:gd name="T42" fmla="*/ 97179 w 602"/>
                <a:gd name="T43" fmla="*/ 153097 h 510"/>
                <a:gd name="T44" fmla="*/ 117410 w 602"/>
                <a:gd name="T45" fmla="*/ 153097 h 510"/>
                <a:gd name="T46" fmla="*/ 127525 w 602"/>
                <a:gd name="T47" fmla="*/ 142987 h 510"/>
                <a:gd name="T48" fmla="*/ 127525 w 602"/>
                <a:gd name="T49" fmla="*/ 58856 h 510"/>
                <a:gd name="T50" fmla="*/ 117410 w 602"/>
                <a:gd name="T51" fmla="*/ 48385 h 510"/>
                <a:gd name="T52" fmla="*/ 97179 w 602"/>
                <a:gd name="T53" fmla="*/ 48385 h 510"/>
                <a:gd name="T54" fmla="*/ 86703 w 602"/>
                <a:gd name="T55" fmla="*/ 58856 h 510"/>
                <a:gd name="T56" fmla="*/ 86703 w 602"/>
                <a:gd name="T57" fmla="*/ 142987 h 510"/>
                <a:gd name="T58" fmla="*/ 97179 w 602"/>
                <a:gd name="T59" fmla="*/ 153097 h 510"/>
                <a:gd name="T60" fmla="*/ 155703 w 602"/>
                <a:gd name="T61" fmla="*/ 153097 h 510"/>
                <a:gd name="T62" fmla="*/ 155703 w 602"/>
                <a:gd name="T63" fmla="*/ 153097 h 510"/>
                <a:gd name="T64" fmla="*/ 176295 w 602"/>
                <a:gd name="T65" fmla="*/ 153097 h 510"/>
                <a:gd name="T66" fmla="*/ 186411 w 602"/>
                <a:gd name="T67" fmla="*/ 142987 h 510"/>
                <a:gd name="T68" fmla="*/ 186411 w 602"/>
                <a:gd name="T69" fmla="*/ 107240 h 510"/>
                <a:gd name="T70" fmla="*/ 176295 w 602"/>
                <a:gd name="T71" fmla="*/ 97130 h 510"/>
                <a:gd name="T72" fmla="*/ 155703 w 602"/>
                <a:gd name="T73" fmla="*/ 97130 h 510"/>
                <a:gd name="T74" fmla="*/ 145588 w 602"/>
                <a:gd name="T75" fmla="*/ 107240 h 510"/>
                <a:gd name="T76" fmla="*/ 145588 w 602"/>
                <a:gd name="T77" fmla="*/ 142987 h 510"/>
                <a:gd name="T78" fmla="*/ 155703 w 602"/>
                <a:gd name="T79" fmla="*/ 153097 h 51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602" h="510">
                  <a:moveTo>
                    <a:pt x="21" y="509"/>
                  </a:moveTo>
                  <a:lnTo>
                    <a:pt x="21" y="509"/>
                  </a:lnTo>
                  <a:cubicBezTo>
                    <a:pt x="580" y="509"/>
                    <a:pt x="580" y="509"/>
                    <a:pt x="580" y="509"/>
                  </a:cubicBezTo>
                  <a:cubicBezTo>
                    <a:pt x="594" y="509"/>
                    <a:pt x="601" y="502"/>
                    <a:pt x="601" y="488"/>
                  </a:cubicBezTo>
                  <a:cubicBezTo>
                    <a:pt x="601" y="481"/>
                    <a:pt x="601" y="481"/>
                    <a:pt x="601" y="481"/>
                  </a:cubicBezTo>
                  <a:cubicBezTo>
                    <a:pt x="601" y="467"/>
                    <a:pt x="594" y="452"/>
                    <a:pt x="580" y="452"/>
                  </a:cubicBezTo>
                  <a:cubicBezTo>
                    <a:pt x="21" y="452"/>
                    <a:pt x="21" y="452"/>
                    <a:pt x="21" y="452"/>
                  </a:cubicBezTo>
                  <a:cubicBezTo>
                    <a:pt x="7" y="452"/>
                    <a:pt x="0" y="467"/>
                    <a:pt x="0" y="481"/>
                  </a:cubicBezTo>
                  <a:cubicBezTo>
                    <a:pt x="0" y="488"/>
                    <a:pt x="0" y="488"/>
                    <a:pt x="0" y="488"/>
                  </a:cubicBezTo>
                  <a:cubicBezTo>
                    <a:pt x="0" y="502"/>
                    <a:pt x="7" y="509"/>
                    <a:pt x="21" y="509"/>
                  </a:cubicBezTo>
                  <a:close/>
                  <a:moveTo>
                    <a:pt x="113" y="424"/>
                  </a:moveTo>
                  <a:lnTo>
                    <a:pt x="113" y="424"/>
                  </a:lnTo>
                  <a:cubicBezTo>
                    <a:pt x="170" y="424"/>
                    <a:pt x="170" y="424"/>
                    <a:pt x="170" y="424"/>
                  </a:cubicBezTo>
                  <a:cubicBezTo>
                    <a:pt x="184" y="424"/>
                    <a:pt x="198" y="417"/>
                    <a:pt x="198" y="396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8" y="14"/>
                    <a:pt x="184" y="0"/>
                    <a:pt x="170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92" y="0"/>
                    <a:pt x="85" y="14"/>
                    <a:pt x="85" y="28"/>
                  </a:cubicBezTo>
                  <a:cubicBezTo>
                    <a:pt x="85" y="396"/>
                    <a:pt x="85" y="396"/>
                    <a:pt x="85" y="396"/>
                  </a:cubicBezTo>
                  <a:cubicBezTo>
                    <a:pt x="85" y="417"/>
                    <a:pt x="92" y="424"/>
                    <a:pt x="113" y="424"/>
                  </a:cubicBezTo>
                  <a:close/>
                  <a:moveTo>
                    <a:pt x="269" y="424"/>
                  </a:moveTo>
                  <a:lnTo>
                    <a:pt x="269" y="424"/>
                  </a:lnTo>
                  <a:cubicBezTo>
                    <a:pt x="325" y="424"/>
                    <a:pt x="325" y="424"/>
                    <a:pt x="325" y="424"/>
                  </a:cubicBezTo>
                  <a:cubicBezTo>
                    <a:pt x="346" y="424"/>
                    <a:pt x="353" y="417"/>
                    <a:pt x="353" y="396"/>
                  </a:cubicBezTo>
                  <a:cubicBezTo>
                    <a:pt x="353" y="163"/>
                    <a:pt x="353" y="163"/>
                    <a:pt x="353" y="163"/>
                  </a:cubicBezTo>
                  <a:cubicBezTo>
                    <a:pt x="353" y="149"/>
                    <a:pt x="346" y="134"/>
                    <a:pt x="325" y="134"/>
                  </a:cubicBezTo>
                  <a:cubicBezTo>
                    <a:pt x="269" y="134"/>
                    <a:pt x="269" y="134"/>
                    <a:pt x="269" y="134"/>
                  </a:cubicBezTo>
                  <a:cubicBezTo>
                    <a:pt x="255" y="134"/>
                    <a:pt x="240" y="149"/>
                    <a:pt x="240" y="163"/>
                  </a:cubicBezTo>
                  <a:cubicBezTo>
                    <a:pt x="240" y="396"/>
                    <a:pt x="240" y="396"/>
                    <a:pt x="240" y="396"/>
                  </a:cubicBezTo>
                  <a:cubicBezTo>
                    <a:pt x="240" y="417"/>
                    <a:pt x="255" y="424"/>
                    <a:pt x="269" y="424"/>
                  </a:cubicBezTo>
                  <a:close/>
                  <a:moveTo>
                    <a:pt x="431" y="424"/>
                  </a:moveTo>
                  <a:lnTo>
                    <a:pt x="431" y="424"/>
                  </a:lnTo>
                  <a:cubicBezTo>
                    <a:pt x="488" y="424"/>
                    <a:pt x="488" y="424"/>
                    <a:pt x="488" y="424"/>
                  </a:cubicBezTo>
                  <a:cubicBezTo>
                    <a:pt x="502" y="424"/>
                    <a:pt x="516" y="417"/>
                    <a:pt x="516" y="396"/>
                  </a:cubicBezTo>
                  <a:cubicBezTo>
                    <a:pt x="516" y="297"/>
                    <a:pt x="516" y="297"/>
                    <a:pt x="516" y="297"/>
                  </a:cubicBezTo>
                  <a:cubicBezTo>
                    <a:pt x="516" y="276"/>
                    <a:pt x="502" y="269"/>
                    <a:pt x="488" y="269"/>
                  </a:cubicBezTo>
                  <a:cubicBezTo>
                    <a:pt x="431" y="269"/>
                    <a:pt x="431" y="269"/>
                    <a:pt x="431" y="269"/>
                  </a:cubicBezTo>
                  <a:cubicBezTo>
                    <a:pt x="417" y="269"/>
                    <a:pt x="403" y="276"/>
                    <a:pt x="403" y="297"/>
                  </a:cubicBezTo>
                  <a:cubicBezTo>
                    <a:pt x="403" y="396"/>
                    <a:pt x="403" y="396"/>
                    <a:pt x="403" y="396"/>
                  </a:cubicBezTo>
                  <a:cubicBezTo>
                    <a:pt x="403" y="417"/>
                    <a:pt x="417" y="424"/>
                    <a:pt x="431" y="424"/>
                  </a:cubicBezTo>
                  <a:close/>
                </a:path>
              </a:pathLst>
            </a:custGeom>
            <a:solidFill>
              <a:srgbClr val="008080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eaLnBrk="1" hangingPunct="1">
                <a:defRPr/>
              </a:pPr>
              <a:endParaRPr lang="id-ID"/>
            </a:p>
          </p:txBody>
        </p:sp>
        <p:sp>
          <p:nvSpPr>
            <p:cNvPr id="35" name="Freeform 31"/>
            <p:cNvSpPr>
              <a:spLocks noChangeArrowheads="1"/>
            </p:cNvSpPr>
            <p:nvPr/>
          </p:nvSpPr>
          <p:spPr bwMode="auto">
            <a:xfrm>
              <a:off x="2547238" y="3691837"/>
              <a:ext cx="634338" cy="321832"/>
            </a:xfrm>
            <a:custGeom>
              <a:avLst/>
              <a:gdLst>
                <a:gd name="T0" fmla="*/ 205475 w 601"/>
                <a:gd name="T1" fmla="*/ 48124 h 305"/>
                <a:gd name="T2" fmla="*/ 205475 w 601"/>
                <a:gd name="T3" fmla="*/ 48124 h 305"/>
                <a:gd name="T4" fmla="*/ 195416 w 601"/>
                <a:gd name="T5" fmla="*/ 58539 h 305"/>
                <a:gd name="T6" fmla="*/ 195416 w 601"/>
                <a:gd name="T7" fmla="*/ 73623 h 305"/>
                <a:gd name="T8" fmla="*/ 144407 w 601"/>
                <a:gd name="T9" fmla="*/ 22985 h 305"/>
                <a:gd name="T10" fmla="*/ 144407 w 601"/>
                <a:gd name="T11" fmla="*/ 22985 h 305"/>
                <a:gd name="T12" fmla="*/ 124291 w 601"/>
                <a:gd name="T13" fmla="*/ 2514 h 305"/>
                <a:gd name="T14" fmla="*/ 124291 w 601"/>
                <a:gd name="T15" fmla="*/ 2514 h 305"/>
                <a:gd name="T16" fmla="*/ 116747 w 601"/>
                <a:gd name="T17" fmla="*/ 0 h 305"/>
                <a:gd name="T18" fmla="*/ 111718 w 601"/>
                <a:gd name="T19" fmla="*/ 2514 h 305"/>
                <a:gd name="T20" fmla="*/ 111718 w 601"/>
                <a:gd name="T21" fmla="*/ 2514 h 305"/>
                <a:gd name="T22" fmla="*/ 63223 w 601"/>
                <a:gd name="T23" fmla="*/ 50638 h 305"/>
                <a:gd name="T24" fmla="*/ 15087 w 601"/>
                <a:gd name="T25" fmla="*/ 2514 h 305"/>
                <a:gd name="T26" fmla="*/ 15087 w 601"/>
                <a:gd name="T27" fmla="*/ 2514 h 305"/>
                <a:gd name="T28" fmla="*/ 10058 w 601"/>
                <a:gd name="T29" fmla="*/ 0 h 305"/>
                <a:gd name="T30" fmla="*/ 0 w 601"/>
                <a:gd name="T31" fmla="*/ 10056 h 305"/>
                <a:gd name="T32" fmla="*/ 2515 w 601"/>
                <a:gd name="T33" fmla="*/ 17957 h 305"/>
                <a:gd name="T34" fmla="*/ 2515 w 601"/>
                <a:gd name="T35" fmla="*/ 17957 h 305"/>
                <a:gd name="T36" fmla="*/ 55679 w 601"/>
                <a:gd name="T37" fmla="*/ 71109 h 305"/>
                <a:gd name="T38" fmla="*/ 55679 w 601"/>
                <a:gd name="T39" fmla="*/ 71109 h 305"/>
                <a:gd name="T40" fmla="*/ 63223 w 601"/>
                <a:gd name="T41" fmla="*/ 73623 h 305"/>
                <a:gd name="T42" fmla="*/ 70767 w 601"/>
                <a:gd name="T43" fmla="*/ 71109 h 305"/>
                <a:gd name="T44" fmla="*/ 70767 w 601"/>
                <a:gd name="T45" fmla="*/ 71109 h 305"/>
                <a:gd name="T46" fmla="*/ 116747 w 601"/>
                <a:gd name="T47" fmla="*/ 25499 h 305"/>
                <a:gd name="T48" fmla="*/ 129320 w 601"/>
                <a:gd name="T49" fmla="*/ 38069 h 305"/>
                <a:gd name="T50" fmla="*/ 129320 w 601"/>
                <a:gd name="T51" fmla="*/ 38069 h 305"/>
                <a:gd name="T52" fmla="*/ 131834 w 601"/>
                <a:gd name="T53" fmla="*/ 38069 h 305"/>
                <a:gd name="T54" fmla="*/ 136863 w 601"/>
                <a:gd name="T55" fmla="*/ 43097 h 305"/>
                <a:gd name="T56" fmla="*/ 136863 w 601"/>
                <a:gd name="T57" fmla="*/ 43097 h 305"/>
                <a:gd name="T58" fmla="*/ 179970 w 601"/>
                <a:gd name="T59" fmla="*/ 88707 h 305"/>
                <a:gd name="T60" fmla="*/ 164883 w 601"/>
                <a:gd name="T61" fmla="*/ 88707 h 305"/>
                <a:gd name="T62" fmla="*/ 154824 w 601"/>
                <a:gd name="T63" fmla="*/ 99122 h 305"/>
                <a:gd name="T64" fmla="*/ 164883 w 601"/>
                <a:gd name="T65" fmla="*/ 109178 h 305"/>
                <a:gd name="T66" fmla="*/ 205475 w 601"/>
                <a:gd name="T67" fmla="*/ 109178 h 305"/>
                <a:gd name="T68" fmla="*/ 215533 w 601"/>
                <a:gd name="T69" fmla="*/ 99122 h 305"/>
                <a:gd name="T70" fmla="*/ 215533 w 601"/>
                <a:gd name="T71" fmla="*/ 58539 h 305"/>
                <a:gd name="T72" fmla="*/ 205475 w 601"/>
                <a:gd name="T73" fmla="*/ 48124 h 30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1" h="305">
                  <a:moveTo>
                    <a:pt x="572" y="134"/>
                  </a:moveTo>
                  <a:lnTo>
                    <a:pt x="572" y="134"/>
                  </a:lnTo>
                  <a:cubicBezTo>
                    <a:pt x="558" y="134"/>
                    <a:pt x="544" y="141"/>
                    <a:pt x="544" y="163"/>
                  </a:cubicBezTo>
                  <a:cubicBezTo>
                    <a:pt x="544" y="205"/>
                    <a:pt x="544" y="205"/>
                    <a:pt x="544" y="205"/>
                  </a:cubicBezTo>
                  <a:cubicBezTo>
                    <a:pt x="402" y="64"/>
                    <a:pt x="402" y="64"/>
                    <a:pt x="402" y="64"/>
                  </a:cubicBezTo>
                  <a:cubicBezTo>
                    <a:pt x="346" y="7"/>
                    <a:pt x="346" y="7"/>
                    <a:pt x="346" y="7"/>
                  </a:cubicBezTo>
                  <a:cubicBezTo>
                    <a:pt x="339" y="0"/>
                    <a:pt x="332" y="0"/>
                    <a:pt x="325" y="0"/>
                  </a:cubicBezTo>
                  <a:cubicBezTo>
                    <a:pt x="318" y="0"/>
                    <a:pt x="311" y="0"/>
                    <a:pt x="311" y="7"/>
                  </a:cubicBezTo>
                  <a:cubicBezTo>
                    <a:pt x="176" y="141"/>
                    <a:pt x="176" y="141"/>
                    <a:pt x="176" y="141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0"/>
                    <a:pt x="35" y="0"/>
                    <a:pt x="28" y="0"/>
                  </a:cubicBezTo>
                  <a:cubicBezTo>
                    <a:pt x="7" y="0"/>
                    <a:pt x="0" y="14"/>
                    <a:pt x="0" y="28"/>
                  </a:cubicBezTo>
                  <a:cubicBezTo>
                    <a:pt x="0" y="35"/>
                    <a:pt x="0" y="43"/>
                    <a:pt x="7" y="50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162" y="205"/>
                    <a:pt x="169" y="205"/>
                    <a:pt x="176" y="205"/>
                  </a:cubicBezTo>
                  <a:cubicBezTo>
                    <a:pt x="183" y="205"/>
                    <a:pt x="190" y="205"/>
                    <a:pt x="197" y="198"/>
                  </a:cubicBezTo>
                  <a:cubicBezTo>
                    <a:pt x="325" y="71"/>
                    <a:pt x="325" y="71"/>
                    <a:pt x="325" y="71"/>
                  </a:cubicBezTo>
                  <a:cubicBezTo>
                    <a:pt x="360" y="106"/>
                    <a:pt x="360" y="106"/>
                    <a:pt x="360" y="106"/>
                  </a:cubicBezTo>
                  <a:cubicBezTo>
                    <a:pt x="367" y="106"/>
                    <a:pt x="367" y="106"/>
                    <a:pt x="367" y="106"/>
                  </a:cubicBezTo>
                  <a:cubicBezTo>
                    <a:pt x="381" y="120"/>
                    <a:pt x="381" y="120"/>
                    <a:pt x="381" y="120"/>
                  </a:cubicBezTo>
                  <a:cubicBezTo>
                    <a:pt x="501" y="247"/>
                    <a:pt x="501" y="247"/>
                    <a:pt x="501" y="247"/>
                  </a:cubicBezTo>
                  <a:cubicBezTo>
                    <a:pt x="459" y="247"/>
                    <a:pt x="459" y="247"/>
                    <a:pt x="459" y="247"/>
                  </a:cubicBezTo>
                  <a:cubicBezTo>
                    <a:pt x="445" y="247"/>
                    <a:pt x="431" y="254"/>
                    <a:pt x="431" y="276"/>
                  </a:cubicBezTo>
                  <a:cubicBezTo>
                    <a:pt x="431" y="290"/>
                    <a:pt x="445" y="304"/>
                    <a:pt x="459" y="304"/>
                  </a:cubicBezTo>
                  <a:cubicBezTo>
                    <a:pt x="572" y="304"/>
                    <a:pt x="572" y="304"/>
                    <a:pt x="572" y="304"/>
                  </a:cubicBezTo>
                  <a:cubicBezTo>
                    <a:pt x="586" y="304"/>
                    <a:pt x="600" y="290"/>
                    <a:pt x="600" y="276"/>
                  </a:cubicBezTo>
                  <a:cubicBezTo>
                    <a:pt x="600" y="163"/>
                    <a:pt x="600" y="163"/>
                    <a:pt x="600" y="163"/>
                  </a:cubicBezTo>
                  <a:cubicBezTo>
                    <a:pt x="600" y="141"/>
                    <a:pt x="586" y="134"/>
                    <a:pt x="572" y="134"/>
                  </a:cubicBezTo>
                </a:path>
              </a:pathLst>
            </a:custGeom>
            <a:solidFill>
              <a:srgbClr val="008080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eaLnBrk="1" hangingPunct="1">
                <a:defRPr/>
              </a:pPr>
              <a:endParaRPr lang="id-ID" dirty="0"/>
            </a:p>
          </p:txBody>
        </p:sp>
      </p:grpSp>
      <p:grpSp>
        <p:nvGrpSpPr>
          <p:cNvPr id="36" name="Group 170"/>
          <p:cNvGrpSpPr/>
          <p:nvPr/>
        </p:nvGrpSpPr>
        <p:grpSpPr>
          <a:xfrm>
            <a:off x="4601040" y="1130247"/>
            <a:ext cx="324000" cy="324000"/>
            <a:chOff x="4019550" y="3568701"/>
            <a:chExt cx="358775" cy="360363"/>
          </a:xfrm>
          <a:solidFill>
            <a:srgbClr val="008080"/>
          </a:solidFill>
        </p:grpSpPr>
        <p:sp>
          <p:nvSpPr>
            <p:cNvPr id="37" name="Freeform 105"/>
            <p:cNvSpPr>
              <a:spLocks noEditPoints="1"/>
            </p:cNvSpPr>
            <p:nvPr/>
          </p:nvSpPr>
          <p:spPr bwMode="auto">
            <a:xfrm>
              <a:off x="4019550" y="3568701"/>
              <a:ext cx="358775" cy="360363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31" y="46"/>
                </a:cxn>
                <a:cxn ang="0">
                  <a:pos x="36" y="68"/>
                </a:cxn>
                <a:cxn ang="0">
                  <a:pos x="4" y="100"/>
                </a:cxn>
                <a:cxn ang="0">
                  <a:pos x="4" y="100"/>
                </a:cxn>
                <a:cxn ang="0">
                  <a:pos x="0" y="109"/>
                </a:cxn>
                <a:cxn ang="0">
                  <a:pos x="13" y="123"/>
                </a:cxn>
                <a:cxn ang="0">
                  <a:pos x="23" y="119"/>
                </a:cxn>
                <a:cxn ang="0">
                  <a:pos x="23" y="119"/>
                </a:cxn>
                <a:cxn ang="0">
                  <a:pos x="55" y="87"/>
                </a:cxn>
                <a:cxn ang="0">
                  <a:pos x="77" y="92"/>
                </a:cxn>
                <a:cxn ang="0">
                  <a:pos x="123" y="46"/>
                </a:cxn>
                <a:cxn ang="0">
                  <a:pos x="77" y="0"/>
                </a:cxn>
                <a:cxn ang="0">
                  <a:pos x="18" y="114"/>
                </a:cxn>
                <a:cxn ang="0">
                  <a:pos x="13" y="116"/>
                </a:cxn>
                <a:cxn ang="0">
                  <a:pos x="7" y="109"/>
                </a:cxn>
                <a:cxn ang="0">
                  <a:pos x="9" y="104"/>
                </a:cxn>
                <a:cxn ang="0">
                  <a:pos x="9" y="104"/>
                </a:cxn>
                <a:cxn ang="0">
                  <a:pos x="40" y="73"/>
                </a:cxn>
                <a:cxn ang="0">
                  <a:pos x="49" y="83"/>
                </a:cxn>
                <a:cxn ang="0">
                  <a:pos x="18" y="114"/>
                </a:cxn>
                <a:cxn ang="0">
                  <a:pos x="77" y="84"/>
                </a:cxn>
                <a:cxn ang="0">
                  <a:pos x="38" y="46"/>
                </a:cxn>
                <a:cxn ang="0">
                  <a:pos x="77" y="8"/>
                </a:cxn>
                <a:cxn ang="0">
                  <a:pos x="115" y="46"/>
                </a:cxn>
                <a:cxn ang="0">
                  <a:pos x="77" y="84"/>
                </a:cxn>
                <a:cxn ang="0">
                  <a:pos x="77" y="84"/>
                </a:cxn>
                <a:cxn ang="0">
                  <a:pos x="77" y="84"/>
                </a:cxn>
              </a:cxnLst>
              <a:rect l="0" t="0" r="r" b="b"/>
              <a:pathLst>
                <a:path w="123" h="123">
                  <a:moveTo>
                    <a:pt x="77" y="0"/>
                  </a:moveTo>
                  <a:cubicBezTo>
                    <a:pt x="51" y="0"/>
                    <a:pt x="31" y="21"/>
                    <a:pt x="31" y="46"/>
                  </a:cubicBezTo>
                  <a:cubicBezTo>
                    <a:pt x="31" y="54"/>
                    <a:pt x="33" y="61"/>
                    <a:pt x="36" y="68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2" y="102"/>
                    <a:pt x="0" y="105"/>
                    <a:pt x="0" y="109"/>
                  </a:cubicBezTo>
                  <a:cubicBezTo>
                    <a:pt x="0" y="117"/>
                    <a:pt x="6" y="123"/>
                    <a:pt x="13" y="123"/>
                  </a:cubicBezTo>
                  <a:cubicBezTo>
                    <a:pt x="17" y="123"/>
                    <a:pt x="21" y="121"/>
                    <a:pt x="23" y="119"/>
                  </a:cubicBezTo>
                  <a:cubicBezTo>
                    <a:pt x="23" y="119"/>
                    <a:pt x="23" y="119"/>
                    <a:pt x="23" y="119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62" y="90"/>
                    <a:pt x="69" y="92"/>
                    <a:pt x="77" y="92"/>
                  </a:cubicBezTo>
                  <a:cubicBezTo>
                    <a:pt x="102" y="92"/>
                    <a:pt x="123" y="71"/>
                    <a:pt x="123" y="46"/>
                  </a:cubicBezTo>
                  <a:cubicBezTo>
                    <a:pt x="123" y="21"/>
                    <a:pt x="102" y="0"/>
                    <a:pt x="77" y="0"/>
                  </a:cubicBezTo>
                  <a:close/>
                  <a:moveTo>
                    <a:pt x="18" y="114"/>
                  </a:moveTo>
                  <a:cubicBezTo>
                    <a:pt x="17" y="115"/>
                    <a:pt x="15" y="116"/>
                    <a:pt x="13" y="116"/>
                  </a:cubicBezTo>
                  <a:cubicBezTo>
                    <a:pt x="10" y="116"/>
                    <a:pt x="7" y="113"/>
                    <a:pt x="7" y="109"/>
                  </a:cubicBezTo>
                  <a:cubicBezTo>
                    <a:pt x="7" y="107"/>
                    <a:pt x="8" y="106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42" y="77"/>
                    <a:pt x="46" y="80"/>
                    <a:pt x="49" y="83"/>
                  </a:cubicBezTo>
                  <a:lnTo>
                    <a:pt x="18" y="114"/>
                  </a:lnTo>
                  <a:close/>
                  <a:moveTo>
                    <a:pt x="77" y="84"/>
                  </a:moveTo>
                  <a:cubicBezTo>
                    <a:pt x="55" y="84"/>
                    <a:pt x="38" y="67"/>
                    <a:pt x="38" y="46"/>
                  </a:cubicBezTo>
                  <a:cubicBezTo>
                    <a:pt x="38" y="25"/>
                    <a:pt x="55" y="8"/>
                    <a:pt x="77" y="8"/>
                  </a:cubicBezTo>
                  <a:cubicBezTo>
                    <a:pt x="98" y="8"/>
                    <a:pt x="115" y="25"/>
                    <a:pt x="115" y="46"/>
                  </a:cubicBezTo>
                  <a:cubicBezTo>
                    <a:pt x="115" y="67"/>
                    <a:pt x="98" y="84"/>
                    <a:pt x="77" y="84"/>
                  </a:cubicBezTo>
                  <a:close/>
                  <a:moveTo>
                    <a:pt x="77" y="84"/>
                  </a:moveTo>
                  <a:cubicBezTo>
                    <a:pt x="77" y="84"/>
                    <a:pt x="77" y="84"/>
                    <a:pt x="77" y="8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  <p:sp>
          <p:nvSpPr>
            <p:cNvPr id="38" name="Freeform 106"/>
            <p:cNvSpPr>
              <a:spLocks noEditPoints="1"/>
            </p:cNvSpPr>
            <p:nvPr/>
          </p:nvSpPr>
          <p:spPr bwMode="auto">
            <a:xfrm>
              <a:off x="4165600" y="3624263"/>
              <a:ext cx="84138" cy="85725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0" y="27"/>
                </a:cxn>
                <a:cxn ang="0">
                  <a:pos x="2" y="29"/>
                </a:cxn>
                <a:cxn ang="0">
                  <a:pos x="4" y="27"/>
                </a:cxn>
                <a:cxn ang="0">
                  <a:pos x="27" y="4"/>
                </a:cxn>
                <a:cxn ang="0">
                  <a:pos x="29" y="2"/>
                </a:cxn>
                <a:cxn ang="0">
                  <a:pos x="27" y="0"/>
                </a:cxn>
                <a:cxn ang="0">
                  <a:pos x="27" y="0"/>
                </a:cxn>
                <a:cxn ang="0">
                  <a:pos x="27" y="0"/>
                </a:cxn>
              </a:cxnLst>
              <a:rect l="0" t="0" r="r" b="b"/>
              <a:pathLst>
                <a:path w="29" h="29"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3" y="29"/>
                    <a:pt x="4" y="28"/>
                    <a:pt x="4" y="27"/>
                  </a:cubicBezTo>
                  <a:cubicBezTo>
                    <a:pt x="4" y="14"/>
                    <a:pt x="14" y="4"/>
                    <a:pt x="27" y="4"/>
                  </a:cubicBezTo>
                  <a:cubicBezTo>
                    <a:pt x="28" y="4"/>
                    <a:pt x="29" y="3"/>
                    <a:pt x="29" y="2"/>
                  </a:cubicBezTo>
                  <a:cubicBezTo>
                    <a:pt x="29" y="1"/>
                    <a:pt x="28" y="0"/>
                    <a:pt x="27" y="0"/>
                  </a:cubicBezTo>
                  <a:close/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n-lt"/>
                <a:ea typeface="+mn-ea"/>
              </a:endParaRPr>
            </a:p>
          </p:txBody>
        </p:sp>
      </p:grpSp>
      <p:sp>
        <p:nvSpPr>
          <p:cNvPr id="39" name="Номер слайда 3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8312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9512" y="73174"/>
            <a:ext cx="8481695" cy="252672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Технологические испытания.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82669" y="439203"/>
            <a:ext cx="5760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u="sng" dirty="0" smtClean="0">
                <a:solidFill>
                  <a:srgbClr val="E20000"/>
                </a:solidFill>
              </a:rPr>
              <a:t>Проблема: Низкая технологичность при переработке</a:t>
            </a:r>
            <a:endParaRPr lang="en-US" sz="1200" u="sng" dirty="0" smtClean="0">
              <a:solidFill>
                <a:srgbClr val="E20000"/>
              </a:solidFill>
            </a:endParaRPr>
          </a:p>
          <a:p>
            <a:r>
              <a:rPr lang="ru-RU" sz="1200" u="sng" dirty="0" smtClean="0">
                <a:solidFill>
                  <a:srgbClr val="E20000"/>
                </a:solidFill>
              </a:rPr>
              <a:t>Материал</a:t>
            </a:r>
            <a:r>
              <a:rPr lang="ru-RU" sz="1200" u="sng" dirty="0">
                <a:solidFill>
                  <a:srgbClr val="E20000"/>
                </a:solidFill>
              </a:rPr>
              <a:t>: </a:t>
            </a:r>
            <a:r>
              <a:rPr lang="en-US" sz="1200" u="sng" dirty="0" smtClean="0">
                <a:solidFill>
                  <a:srgbClr val="E20000"/>
                </a:solidFill>
              </a:rPr>
              <a:t>PP H031 BF</a:t>
            </a:r>
            <a:endParaRPr lang="en-US" sz="1200" u="sng" dirty="0">
              <a:solidFill>
                <a:srgbClr val="E20000"/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/>
          </p:nvPr>
        </p:nvGraphicFramePr>
        <p:xfrm>
          <a:off x="179512" y="933508"/>
          <a:ext cx="4214068" cy="16884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856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7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10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5149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/>
                        <a:t>Ориентационная способность образцов ПП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8682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/>
                        <a:t>Показатель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/>
                        <a:t>ПП сравнения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П претензионный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544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отношение </a:t>
                      </a:r>
                      <a:r>
                        <a:rPr lang="ru-RU" sz="12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m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2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y</a:t>
                      </a: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TD  Ориентация 6,5*9,5; Т=160 °С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,8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,8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6" name="TextBox 35"/>
          <p:cNvSpPr txBox="1"/>
          <p:nvPr/>
        </p:nvSpPr>
        <p:spPr>
          <a:xfrm>
            <a:off x="179513" y="3285406"/>
            <a:ext cx="42140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200" dirty="0" smtClean="0"/>
              <a:t>Изделия изготовленные с применением индивидуальных добавок и пропиленом недостаточной чистоты обладают</a:t>
            </a:r>
            <a:r>
              <a:rPr lang="en-US" sz="1200" dirty="0" smtClean="0"/>
              <a:t> </a:t>
            </a:r>
            <a:r>
              <a:rPr lang="ru-RU" sz="1200" dirty="0" smtClean="0"/>
              <a:t>худшей способностью к ориентации при переработке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0</a:t>
            </a:fld>
            <a:endParaRPr lang="ru-RU" dirty="0"/>
          </a:p>
        </p:txBody>
      </p:sp>
      <p:pic>
        <p:nvPicPr>
          <p:cNvPr id="14" name="Рисунок 13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7394" y="511976"/>
            <a:ext cx="4384319" cy="2100812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243" y="2798918"/>
            <a:ext cx="2527279" cy="1909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021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этапы расследован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grpSp>
        <p:nvGrpSpPr>
          <p:cNvPr id="17" name="Группа 16"/>
          <p:cNvGrpSpPr/>
          <p:nvPr/>
        </p:nvGrpSpPr>
        <p:grpSpPr>
          <a:xfrm>
            <a:off x="37800" y="1170775"/>
            <a:ext cx="9072000" cy="793858"/>
            <a:chOff x="0" y="1687605"/>
            <a:chExt cx="9072000" cy="793858"/>
          </a:xfrm>
        </p:grpSpPr>
        <p:sp>
          <p:nvSpPr>
            <p:cNvPr id="11" name="Нашивка 65"/>
            <p:cNvSpPr/>
            <p:nvPr/>
          </p:nvSpPr>
          <p:spPr>
            <a:xfrm>
              <a:off x="0" y="1687606"/>
              <a:ext cx="1512000" cy="793857"/>
            </a:xfrm>
            <a:prstGeom prst="chevron">
              <a:avLst>
                <a:gd name="adj" fmla="val 13581"/>
              </a:avLst>
            </a:prstGeom>
            <a:solidFill>
              <a:srgbClr val="008C95"/>
            </a:solidFill>
            <a:ln>
              <a:noFill/>
            </a:ln>
            <a:effectLst>
              <a:outerShdw blurRad="63500" dist="254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dirty="0" smtClean="0"/>
                <a:t>Формирование рабочей группы</a:t>
              </a:r>
              <a:endParaRPr lang="ru-RU" sz="1000" dirty="0"/>
            </a:p>
          </p:txBody>
        </p:sp>
        <p:sp>
          <p:nvSpPr>
            <p:cNvPr id="12" name="Нашивка 65"/>
            <p:cNvSpPr/>
            <p:nvPr/>
          </p:nvSpPr>
          <p:spPr>
            <a:xfrm>
              <a:off x="1512000" y="1687606"/>
              <a:ext cx="1512000" cy="793857"/>
            </a:xfrm>
            <a:prstGeom prst="chevron">
              <a:avLst>
                <a:gd name="adj" fmla="val 13581"/>
              </a:avLst>
            </a:prstGeom>
            <a:solidFill>
              <a:srgbClr val="008C95"/>
            </a:solidFill>
            <a:ln>
              <a:noFill/>
            </a:ln>
            <a:effectLst>
              <a:outerShdw blurRad="63500" dist="254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dirty="0" smtClean="0"/>
                <a:t>Сбор данных</a:t>
              </a:r>
              <a:endParaRPr lang="ru-RU" sz="1000" dirty="0"/>
            </a:p>
          </p:txBody>
        </p:sp>
        <p:sp>
          <p:nvSpPr>
            <p:cNvPr id="13" name="Нашивка 65"/>
            <p:cNvSpPr/>
            <p:nvPr/>
          </p:nvSpPr>
          <p:spPr>
            <a:xfrm>
              <a:off x="3024000" y="1687606"/>
              <a:ext cx="1512000" cy="793857"/>
            </a:xfrm>
            <a:prstGeom prst="chevron">
              <a:avLst>
                <a:gd name="adj" fmla="val 13581"/>
              </a:avLst>
            </a:prstGeom>
            <a:solidFill>
              <a:srgbClr val="008C95"/>
            </a:solidFill>
            <a:ln>
              <a:noFill/>
            </a:ln>
            <a:effectLst>
              <a:outerShdw blurRad="63500" dist="254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dirty="0"/>
                <a:t>Определение </a:t>
              </a:r>
              <a:r>
                <a:rPr lang="ru-RU" sz="1000" dirty="0" smtClean="0"/>
                <a:t>гипотез и разработка </a:t>
              </a:r>
              <a:r>
                <a:rPr lang="ru-RU" sz="1000" dirty="0"/>
                <a:t>программы исследований</a:t>
              </a:r>
            </a:p>
          </p:txBody>
        </p:sp>
        <p:sp>
          <p:nvSpPr>
            <p:cNvPr id="14" name="Нашивка 65"/>
            <p:cNvSpPr/>
            <p:nvPr/>
          </p:nvSpPr>
          <p:spPr>
            <a:xfrm>
              <a:off x="4536000" y="1687606"/>
              <a:ext cx="1512000" cy="793857"/>
            </a:xfrm>
            <a:prstGeom prst="chevron">
              <a:avLst>
                <a:gd name="adj" fmla="val 13581"/>
              </a:avLst>
            </a:prstGeom>
            <a:solidFill>
              <a:srgbClr val="008C95"/>
            </a:solidFill>
            <a:ln>
              <a:noFill/>
            </a:ln>
            <a:effectLst>
              <a:outerShdw blurRad="63500" dist="254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dirty="0"/>
                <a:t>Выполнение исследований</a:t>
              </a:r>
            </a:p>
          </p:txBody>
        </p:sp>
        <p:sp>
          <p:nvSpPr>
            <p:cNvPr id="15" name="Нашивка 65"/>
            <p:cNvSpPr/>
            <p:nvPr/>
          </p:nvSpPr>
          <p:spPr>
            <a:xfrm>
              <a:off x="6048000" y="1687605"/>
              <a:ext cx="1512000" cy="793857"/>
            </a:xfrm>
            <a:prstGeom prst="chevron">
              <a:avLst>
                <a:gd name="adj" fmla="val 13581"/>
              </a:avLst>
            </a:prstGeom>
            <a:solidFill>
              <a:srgbClr val="008C95"/>
            </a:solidFill>
            <a:ln>
              <a:noFill/>
            </a:ln>
            <a:effectLst>
              <a:outerShdw blurRad="63500" dist="254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dirty="0"/>
                <a:t>Обсуждение и планирование </a:t>
              </a:r>
              <a:r>
                <a:rPr lang="ru-RU" sz="1000" dirty="0" err="1"/>
                <a:t>митигационных</a:t>
              </a:r>
              <a:r>
                <a:rPr lang="ru-RU" sz="1000" dirty="0"/>
                <a:t> действий</a:t>
              </a:r>
            </a:p>
          </p:txBody>
        </p:sp>
        <p:sp>
          <p:nvSpPr>
            <p:cNvPr id="16" name="Нашивка 65"/>
            <p:cNvSpPr/>
            <p:nvPr/>
          </p:nvSpPr>
          <p:spPr>
            <a:xfrm>
              <a:off x="7560000" y="1687605"/>
              <a:ext cx="1512000" cy="793857"/>
            </a:xfrm>
            <a:prstGeom prst="chevron">
              <a:avLst>
                <a:gd name="adj" fmla="val 13581"/>
              </a:avLst>
            </a:prstGeom>
            <a:solidFill>
              <a:srgbClr val="008C95"/>
            </a:solidFill>
            <a:ln>
              <a:noFill/>
            </a:ln>
            <a:effectLst>
              <a:outerShdw blurRad="63500" dist="254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dirty="0" smtClean="0"/>
                <a:t>Выполнение </a:t>
              </a:r>
              <a:r>
                <a:rPr lang="ru-RU" sz="1000" dirty="0" err="1" smtClean="0"/>
                <a:t>митигационных</a:t>
              </a:r>
              <a:r>
                <a:rPr lang="ru-RU" sz="1000" dirty="0" smtClean="0"/>
                <a:t> действий</a:t>
              </a:r>
              <a:endParaRPr lang="ru-RU" sz="1000" dirty="0"/>
            </a:p>
          </p:txBody>
        </p:sp>
      </p:grpSp>
      <p:sp>
        <p:nvSpPr>
          <p:cNvPr id="18" name="Прямоугольник 17"/>
          <p:cNvSpPr/>
          <p:nvPr/>
        </p:nvSpPr>
        <p:spPr bwMode="auto">
          <a:xfrm>
            <a:off x="37800" y="2097745"/>
            <a:ext cx="1512000" cy="19296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Кросс-функциональная  рабочая</a:t>
            </a:r>
            <a:r>
              <a:rPr kumimoji="0" lang="ru-RU" sz="8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группа</a:t>
            </a: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80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800" baseline="0" dirty="0" smtClean="0">
                <a:latin typeface="Arial" charset="0"/>
              </a:rPr>
              <a:t>Возможное</a:t>
            </a:r>
            <a:r>
              <a:rPr lang="ru-RU" sz="800" dirty="0" smtClean="0">
                <a:latin typeface="Arial" charset="0"/>
              </a:rPr>
              <a:t> внедрение временного корректирующего действия до выяснения причин и выполнения </a:t>
            </a:r>
            <a:r>
              <a:rPr lang="ru-RU" sz="800" dirty="0" err="1" smtClean="0">
                <a:latin typeface="Arial" charset="0"/>
              </a:rPr>
              <a:t>митигирующих</a:t>
            </a:r>
            <a:r>
              <a:rPr lang="ru-RU" sz="800" dirty="0" smtClean="0">
                <a:latin typeface="Arial" charset="0"/>
              </a:rPr>
              <a:t> действий </a:t>
            </a:r>
            <a:endParaRPr kumimoji="0" lang="ru-RU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549800" y="2097745"/>
            <a:ext cx="1512000" cy="19296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latin typeface="Arial" charset="0"/>
              </a:rPr>
              <a:t>Подготовка всей необходимой информации для обсуждения </a:t>
            </a:r>
            <a:r>
              <a:rPr lang="ru-RU" sz="800" dirty="0" smtClean="0">
                <a:latin typeface="Arial" charset="0"/>
              </a:rPr>
              <a:t>гипотез</a:t>
            </a: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sz="800" dirty="0" smtClean="0">
              <a:latin typeface="Arial" charset="0"/>
            </a:endParaRP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latin typeface="Arial" charset="0"/>
              </a:rPr>
              <a:t>Анализ полученных данных</a:t>
            </a: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sz="800" dirty="0">
              <a:latin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latin typeface="Arial" charset="0"/>
            </a:endParaRPr>
          </a:p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3061800" y="2097745"/>
            <a:ext cx="1512000" cy="19296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charset="0"/>
              </a:rPr>
              <a:t>Установление </a:t>
            </a:r>
            <a:r>
              <a:rPr lang="ru-RU" sz="800" dirty="0">
                <a:latin typeface="Arial" charset="0"/>
              </a:rPr>
              <a:t>причинно-следственных связей с использованием методик: 5 почему, Диаграмма </a:t>
            </a:r>
            <a:r>
              <a:rPr lang="ru-RU" sz="800" dirty="0" err="1">
                <a:latin typeface="Arial" charset="0"/>
              </a:rPr>
              <a:t>Исикавы</a:t>
            </a:r>
            <a:endParaRPr lang="ru-RU" sz="800" dirty="0">
              <a:latin typeface="Arial" charset="0"/>
            </a:endParaRP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sz="800" dirty="0">
              <a:latin typeface="Arial" charset="0"/>
            </a:endParaRP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latin typeface="Arial" charset="0"/>
              </a:rPr>
              <a:t>Обсуждение проблемы</a:t>
            </a: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sz="800" dirty="0">
              <a:latin typeface="Arial" charset="0"/>
            </a:endParaRPr>
          </a:p>
          <a:p>
            <a:pPr marL="171450" indent="-171450" defTabSz="9144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latin typeface="Arial" charset="0"/>
              </a:rPr>
              <a:t>Определение гипотез возникновения проблем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4573800" y="2097745"/>
            <a:ext cx="1512000" cy="19296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Проведение необходимых исследований согласно плану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ru-RU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800" dirty="0" smtClean="0">
                <a:latin typeface="Arial" charset="0"/>
              </a:rPr>
              <a:t>Информирование рабочей группы о промежуточных результатах для корректировки плана исследований</a:t>
            </a:r>
            <a:endParaRPr kumimoji="0" lang="ru-RU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6085800" y="2097743"/>
            <a:ext cx="1512000" cy="19296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Обсуждение результатов</a:t>
            </a:r>
            <a:r>
              <a:rPr kumimoji="0" lang="ru-RU" sz="8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выполненных исследований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800" baseline="0" dirty="0" smtClean="0">
                <a:latin typeface="Arial" charset="0"/>
              </a:rPr>
              <a:t>Подтверждение</a:t>
            </a:r>
            <a:r>
              <a:rPr lang="ru-RU" sz="800" dirty="0">
                <a:latin typeface="Arial" charset="0"/>
              </a:rPr>
              <a:t> </a:t>
            </a:r>
            <a:r>
              <a:rPr lang="ru-RU" sz="800" dirty="0" smtClean="0">
                <a:latin typeface="Arial" charset="0"/>
              </a:rPr>
              <a:t>/ опровержение гипотез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800" dirty="0" smtClean="0">
              <a:latin typeface="Arial" charset="0"/>
            </a:endParaRP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Разработка</a:t>
            </a:r>
            <a:r>
              <a:rPr kumimoji="0" lang="ru-RU" sz="8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плана действий для устранения причин и </a:t>
            </a:r>
            <a:r>
              <a:rPr kumimoji="0" lang="ru-RU" sz="8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митигации</a:t>
            </a:r>
            <a:r>
              <a:rPr kumimoji="0" lang="ru-RU" sz="8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проблемы в будущем</a:t>
            </a:r>
            <a:endParaRPr kumimoji="0" lang="ru-RU" sz="8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7597800" y="2097743"/>
            <a:ext cx="1512000" cy="192965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ru-RU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Проведение мероприятий направленных на устранение причин возникновения проблемы </a:t>
            </a:r>
          </a:p>
        </p:txBody>
      </p:sp>
    </p:spTree>
    <p:extLst>
      <p:ext uri="{BB962C8B-B14F-4D97-AF65-F5344CB8AC3E}">
        <p14:creationId xmlns:p14="http://schemas.microsoft.com/office/powerpoint/2010/main" val="1596935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мы испытываем полимеры?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2828338" y="872392"/>
            <a:ext cx="3392115" cy="3392115"/>
            <a:chOff x="2708339" y="788998"/>
            <a:chExt cx="3392115" cy="3392115"/>
          </a:xfrm>
        </p:grpSpPr>
        <p:sp>
          <p:nvSpPr>
            <p:cNvPr id="4" name="Овал 3"/>
            <p:cNvSpPr/>
            <p:nvPr/>
          </p:nvSpPr>
          <p:spPr>
            <a:xfrm>
              <a:off x="2708339" y="788998"/>
              <a:ext cx="3392115" cy="3392115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" name="Овал 4"/>
            <p:cNvSpPr/>
            <p:nvPr/>
          </p:nvSpPr>
          <p:spPr>
            <a:xfrm>
              <a:off x="2799117" y="879776"/>
              <a:ext cx="3210558" cy="3210558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5284570" y="1060600"/>
            <a:ext cx="3621626" cy="849393"/>
            <a:chOff x="5169925" y="1566309"/>
            <a:chExt cx="3621626" cy="849393"/>
          </a:xfrm>
        </p:grpSpPr>
        <p:sp>
          <p:nvSpPr>
            <p:cNvPr id="7" name="Овал 6"/>
            <p:cNvSpPr/>
            <p:nvPr/>
          </p:nvSpPr>
          <p:spPr>
            <a:xfrm>
              <a:off x="5169925" y="1566309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99CC00">
                    <a:shade val="30000"/>
                    <a:satMod val="115000"/>
                  </a:srgbClr>
                </a:gs>
                <a:gs pos="50000">
                  <a:srgbClr val="99CC00">
                    <a:shade val="67500"/>
                    <a:satMod val="115000"/>
                  </a:srgbClr>
                </a:gs>
                <a:gs pos="100000">
                  <a:srgbClr val="99CC0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" name="Круговая стрелка 7"/>
            <p:cNvSpPr/>
            <p:nvPr/>
          </p:nvSpPr>
          <p:spPr>
            <a:xfrm rot="18900000">
              <a:off x="5197168" y="1593552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6019319" y="1813827"/>
              <a:ext cx="2772232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Испытания готовых изделий</a:t>
              </a:r>
              <a:endParaRPr lang="ru-RU" sz="1400" b="1" dirty="0">
                <a:solidFill>
                  <a:prstClr val="black">
                    <a:lumMod val="85000"/>
                    <a:lumOff val="15000"/>
                  </a:prstClr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346401" y="1727160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1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4336374" y="3795591"/>
            <a:ext cx="3863365" cy="849393"/>
            <a:chOff x="6013162" y="3025163"/>
            <a:chExt cx="3863365" cy="849393"/>
          </a:xfrm>
        </p:grpSpPr>
        <p:sp>
          <p:nvSpPr>
            <p:cNvPr id="13" name="Овал 12"/>
            <p:cNvSpPr/>
            <p:nvPr/>
          </p:nvSpPr>
          <p:spPr>
            <a:xfrm>
              <a:off x="6013162" y="3025163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lumMod val="75000"/>
                    <a:shade val="30000"/>
                    <a:satMod val="115000"/>
                  </a:schemeClr>
                </a:gs>
                <a:gs pos="50000">
                  <a:schemeClr val="accent5">
                    <a:lumMod val="75000"/>
                    <a:shade val="67500"/>
                    <a:satMod val="115000"/>
                  </a:schemeClr>
                </a:gs>
                <a:gs pos="100000">
                  <a:schemeClr val="accent5">
                    <a:lumMod val="75000"/>
                    <a:shade val="100000"/>
                    <a:satMod val="115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4" name="Круговая стрелка 13"/>
            <p:cNvSpPr/>
            <p:nvPr/>
          </p:nvSpPr>
          <p:spPr>
            <a:xfrm rot="18900000">
              <a:off x="6040405" y="3052406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835921" y="3313716"/>
              <a:ext cx="3040606" cy="2862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533400">
                <a:lnSpc>
                  <a:spcPct val="90000"/>
                </a:lnSpc>
              </a:pPr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Базовые испытания</a:t>
              </a:r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201184" y="3188249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2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302281" y="1909993"/>
            <a:ext cx="3138634" cy="849393"/>
            <a:chOff x="1187069" y="4477882"/>
            <a:chExt cx="3138634" cy="849393"/>
          </a:xfrm>
        </p:grpSpPr>
        <p:sp>
          <p:nvSpPr>
            <p:cNvPr id="23" name="Овал 22"/>
            <p:cNvSpPr/>
            <p:nvPr/>
          </p:nvSpPr>
          <p:spPr>
            <a:xfrm>
              <a:off x="3476310" y="4477882"/>
              <a:ext cx="849393" cy="849393"/>
            </a:xfrm>
            <a:prstGeom prst="ellipse">
              <a:avLst/>
            </a:prstGeom>
            <a:gradFill flip="none" rotWithShape="1">
              <a:gsLst>
                <a:gs pos="0">
                  <a:srgbClr val="F58A1F">
                    <a:shade val="30000"/>
                    <a:satMod val="115000"/>
                  </a:srgbClr>
                </a:gs>
                <a:gs pos="50000">
                  <a:srgbClr val="F58A1F">
                    <a:shade val="67500"/>
                    <a:satMod val="115000"/>
                  </a:srgbClr>
                </a:gs>
                <a:gs pos="100000">
                  <a:srgbClr val="F58A1F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24" name="Круговая стрелка 23"/>
            <p:cNvSpPr/>
            <p:nvPr/>
          </p:nvSpPr>
          <p:spPr>
            <a:xfrm rot="18900000">
              <a:off x="3503553" y="4505125"/>
              <a:ext cx="794907" cy="794907"/>
            </a:xfrm>
            <a:prstGeom prst="circularArrow">
              <a:avLst>
                <a:gd name="adj1" fmla="val 25000"/>
                <a:gd name="adj2" fmla="val 171788"/>
                <a:gd name="adj3" fmla="val 20681299"/>
                <a:gd name="adj4" fmla="val 10800000"/>
                <a:gd name="adj5" fmla="val 3340"/>
              </a:avLst>
            </a:prstGeom>
            <a:solidFill>
              <a:schemeClr val="bg1"/>
            </a:solidFill>
            <a:ln>
              <a:noFill/>
              <a:prstDash val="dash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187069" y="4656208"/>
              <a:ext cx="2285948" cy="4801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533400">
                <a:lnSpc>
                  <a:spcPct val="90000"/>
                </a:lnSpc>
              </a:pPr>
              <a:r>
                <a:rPr lang="ru-RU" sz="14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Физико-химические исследовани</a:t>
              </a:r>
              <a:r>
                <a:rPr lang="ru-RU" sz="1400" b="1" dirty="0">
                  <a:solidFill>
                    <a:prstClr val="black">
                      <a:lumMod val="85000"/>
                      <a:lumOff val="15000"/>
                    </a:prstClr>
                  </a:solidFill>
                </a:rPr>
                <a:t>я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652786" y="4656208"/>
              <a:ext cx="5116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0</a:t>
              </a:r>
              <a:r>
                <a:rPr lang="ru-RU" sz="2800" dirty="0" smtClean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rPr>
                <a:t>3</a:t>
              </a:r>
              <a:endParaRPr lang="ru-RU" sz="2800" dirty="0">
                <a:solidFill>
                  <a:prstClr val="white"/>
                </a:solidFill>
                <a:latin typeface="Arial Narrow" panose="020B0606020202030204" pitchFamily="34" charset="0"/>
                <a:ea typeface="Adobe Heiti Std R" pitchFamily="34" charset="-128"/>
              </a:endParaRPr>
            </a:p>
          </p:txBody>
        </p:sp>
      </p:grpSp>
      <p:pic>
        <p:nvPicPr>
          <p:cNvPr id="31" name="Picture 2" descr="C:\Users\Mukhamadeevaag\Pictures\Методы исследования\184105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3" r="16945"/>
          <a:stretch/>
        </p:blipFill>
        <p:spPr bwMode="auto">
          <a:xfrm>
            <a:off x="3981825" y="1343881"/>
            <a:ext cx="1085139" cy="760192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71" t="7609" r="12093" b="24434"/>
          <a:stretch/>
        </p:blipFill>
        <p:spPr bwMode="auto">
          <a:xfrm>
            <a:off x="3971182" y="2151525"/>
            <a:ext cx="1098677" cy="751668"/>
          </a:xfrm>
          <a:prstGeom prst="round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 descr="C:\Users\StrahovMV\Desktop\3. ПАПКИ\ИНТЕРПЛАСТИКА\ВЕРНИГОРОВ\ФОТО ИНТЕРПЛАСТИКА\04_Depositphotos_2660814_original-small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t="2697" r="17346" b="7573"/>
          <a:stretch/>
        </p:blipFill>
        <p:spPr bwMode="auto">
          <a:xfrm>
            <a:off x="3981825" y="2948582"/>
            <a:ext cx="1077392" cy="77768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Номер слайда 3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590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255600" y="1121278"/>
            <a:ext cx="3392115" cy="3392115"/>
            <a:chOff x="2708339" y="788998"/>
            <a:chExt cx="3392115" cy="3392115"/>
          </a:xfrm>
        </p:grpSpPr>
        <p:sp>
          <p:nvSpPr>
            <p:cNvPr id="6" name="Овал 5"/>
            <p:cNvSpPr/>
            <p:nvPr/>
          </p:nvSpPr>
          <p:spPr>
            <a:xfrm>
              <a:off x="2708339" y="788998"/>
              <a:ext cx="3392115" cy="3392115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" name="Овал 6"/>
            <p:cNvSpPr/>
            <p:nvPr/>
          </p:nvSpPr>
          <p:spPr>
            <a:xfrm>
              <a:off x="2799117" y="879776"/>
              <a:ext cx="3210558" cy="3210558"/>
            </a:xfrm>
            <a:prstGeom prst="ellipse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2503630" y="3687758"/>
            <a:ext cx="5968017" cy="911451"/>
            <a:chOff x="2568264" y="3582615"/>
            <a:chExt cx="5968017" cy="911451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2568264" y="3582615"/>
              <a:ext cx="3621625" cy="851089"/>
              <a:chOff x="5169925" y="1564613"/>
              <a:chExt cx="3621625" cy="851089"/>
            </a:xfrm>
          </p:grpSpPr>
          <p:sp>
            <p:nvSpPr>
              <p:cNvPr id="19" name="Овал 18"/>
              <p:cNvSpPr/>
              <p:nvPr/>
            </p:nvSpPr>
            <p:spPr>
              <a:xfrm>
                <a:off x="5169925" y="1566309"/>
                <a:ext cx="849393" cy="849393"/>
              </a:xfrm>
              <a:prstGeom prst="ellipse">
                <a:avLst/>
              </a:prstGeom>
              <a:gradFill flip="none" rotWithShape="1">
                <a:gsLst>
                  <a:gs pos="0">
                    <a:srgbClr val="99CC00">
                      <a:shade val="30000"/>
                      <a:satMod val="115000"/>
                    </a:srgbClr>
                  </a:gs>
                  <a:gs pos="50000">
                    <a:srgbClr val="99CC00">
                      <a:shade val="67500"/>
                      <a:satMod val="115000"/>
                    </a:srgbClr>
                  </a:gs>
                  <a:gs pos="100000">
                    <a:srgbClr val="99CC00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Круговая стрелка 19"/>
              <p:cNvSpPr/>
              <p:nvPr/>
            </p:nvSpPr>
            <p:spPr>
              <a:xfrm rot="18900000">
                <a:off x="5197168" y="1593552"/>
                <a:ext cx="794907" cy="794907"/>
              </a:xfrm>
              <a:prstGeom prst="circularArrow">
                <a:avLst>
                  <a:gd name="adj1" fmla="val 25000"/>
                  <a:gd name="adj2" fmla="val 171788"/>
                  <a:gd name="adj3" fmla="val 20681299"/>
                  <a:gd name="adj4" fmla="val 10800000"/>
                  <a:gd name="adj5" fmla="val 3340"/>
                </a:avLst>
              </a:prstGeom>
              <a:solidFill>
                <a:schemeClr val="bg1"/>
              </a:solidFill>
              <a:ln>
                <a:noFill/>
                <a:prstDash val="dash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Прямоугольник 20"/>
              <p:cNvSpPr/>
              <p:nvPr/>
            </p:nvSpPr>
            <p:spPr>
              <a:xfrm>
                <a:off x="6019318" y="1564613"/>
                <a:ext cx="2772232" cy="2585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5334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1200" b="1" dirty="0" smtClean="0">
                    <a:solidFill>
                      <a:prstClr val="black">
                        <a:lumMod val="85000"/>
                        <a:lumOff val="15000"/>
                      </a:prstClr>
                    </a:solidFill>
                  </a:rPr>
                  <a:t>Испытания труб</a:t>
                </a:r>
                <a:endParaRPr lang="ru-RU" sz="1200" b="1" dirty="0">
                  <a:solidFill>
                    <a:prstClr val="black">
                      <a:lumMod val="85000"/>
                      <a:lumOff val="15000"/>
                    </a:prstClr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346401" y="1727160"/>
                <a:ext cx="51167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dirty="0" smtClean="0">
                    <a:solidFill>
                      <a:prstClr val="white"/>
                    </a:solidFill>
                    <a:latin typeface="Arial Narrow" panose="020B0606020202030204" pitchFamily="34" charset="0"/>
                    <a:ea typeface="Adobe Heiti Std R" pitchFamily="34" charset="-128"/>
                  </a:rPr>
                  <a:t>0</a:t>
                </a:r>
                <a:r>
                  <a:rPr lang="ru-RU" sz="2800" dirty="0" smtClean="0">
                    <a:solidFill>
                      <a:prstClr val="white"/>
                    </a:solidFill>
                    <a:latin typeface="Arial Narrow" panose="020B0606020202030204" pitchFamily="34" charset="0"/>
                    <a:ea typeface="Adobe Heiti Std R" pitchFamily="34" charset="-128"/>
                  </a:rPr>
                  <a:t>3</a:t>
                </a:r>
                <a:endParaRPr lang="ru-RU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endParaRPr>
              </a:p>
            </p:txBody>
          </p:sp>
        </p:grpSp>
        <p:sp>
          <p:nvSpPr>
            <p:cNvPr id="28" name="Прямоугольник 27"/>
            <p:cNvSpPr/>
            <p:nvPr/>
          </p:nvSpPr>
          <p:spPr>
            <a:xfrm>
              <a:off x="3417657" y="3786180"/>
              <a:ext cx="511862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 smtClean="0"/>
                <a:t>Позволяют сделать вывод о пригодности изделий к многолетней эксплуатации под высоким давлением, их стойкости к воздействию температур в широком диапазоне, герметичности и надежности соединительных узлов, а также стойкости к внешним ударным нагрузкам</a:t>
              </a:r>
              <a:endParaRPr lang="ru-RU" sz="1000" dirty="0"/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2998841" y="2244617"/>
            <a:ext cx="4787005" cy="909877"/>
            <a:chOff x="3023218" y="1733481"/>
            <a:chExt cx="4787005" cy="909877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3023218" y="1733481"/>
              <a:ext cx="4787005" cy="849393"/>
              <a:chOff x="5169925" y="1566309"/>
              <a:chExt cx="4787005" cy="849393"/>
            </a:xfrm>
          </p:grpSpPr>
          <p:sp>
            <p:nvSpPr>
              <p:cNvPr id="14" name="Овал 13"/>
              <p:cNvSpPr/>
              <p:nvPr/>
            </p:nvSpPr>
            <p:spPr>
              <a:xfrm>
                <a:off x="5169925" y="1566309"/>
                <a:ext cx="849393" cy="849393"/>
              </a:xfrm>
              <a:prstGeom prst="ellipse">
                <a:avLst/>
              </a:prstGeom>
              <a:gradFill flip="none" rotWithShape="1">
                <a:gsLst>
                  <a:gs pos="0">
                    <a:srgbClr val="99CC00">
                      <a:shade val="30000"/>
                      <a:satMod val="115000"/>
                    </a:srgbClr>
                  </a:gs>
                  <a:gs pos="50000">
                    <a:srgbClr val="99CC00">
                      <a:shade val="67500"/>
                      <a:satMod val="115000"/>
                    </a:srgbClr>
                  </a:gs>
                  <a:gs pos="100000">
                    <a:srgbClr val="99CC00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Круговая стрелка 14"/>
              <p:cNvSpPr/>
              <p:nvPr/>
            </p:nvSpPr>
            <p:spPr>
              <a:xfrm rot="18900000">
                <a:off x="5197168" y="1593552"/>
                <a:ext cx="794907" cy="794907"/>
              </a:xfrm>
              <a:prstGeom prst="circularArrow">
                <a:avLst>
                  <a:gd name="adj1" fmla="val 25000"/>
                  <a:gd name="adj2" fmla="val 171788"/>
                  <a:gd name="adj3" fmla="val 20681299"/>
                  <a:gd name="adj4" fmla="val 10800000"/>
                  <a:gd name="adj5" fmla="val 3340"/>
                </a:avLst>
              </a:prstGeom>
              <a:solidFill>
                <a:schemeClr val="bg1"/>
              </a:solidFill>
              <a:ln>
                <a:noFill/>
                <a:prstDash val="dash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Прямоугольник 15"/>
              <p:cNvSpPr/>
              <p:nvPr/>
            </p:nvSpPr>
            <p:spPr>
              <a:xfrm>
                <a:off x="6019317" y="1566309"/>
                <a:ext cx="3937613" cy="2585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5334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1200" b="1" dirty="0" smtClean="0">
                    <a:solidFill>
                      <a:prstClr val="black">
                        <a:lumMod val="85000"/>
                        <a:lumOff val="15000"/>
                      </a:prstClr>
                    </a:solidFill>
                  </a:rPr>
                  <a:t>Испытания жёсткой упаковки</a:t>
                </a:r>
                <a:endParaRPr lang="ru-RU" sz="1200" b="1" dirty="0">
                  <a:solidFill>
                    <a:prstClr val="black">
                      <a:lumMod val="85000"/>
                      <a:lumOff val="15000"/>
                    </a:prstClr>
                  </a:solidFill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5346401" y="1727160"/>
                <a:ext cx="51167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dirty="0" smtClean="0">
                    <a:solidFill>
                      <a:prstClr val="white"/>
                    </a:solidFill>
                    <a:latin typeface="Arial Narrow" panose="020B0606020202030204" pitchFamily="34" charset="0"/>
                    <a:ea typeface="Adobe Heiti Std R" pitchFamily="34" charset="-128"/>
                  </a:rPr>
                  <a:t>0</a:t>
                </a:r>
                <a:r>
                  <a:rPr lang="ru-RU" sz="2800" dirty="0" smtClean="0">
                    <a:solidFill>
                      <a:prstClr val="white"/>
                    </a:solidFill>
                    <a:latin typeface="Arial Narrow" panose="020B0606020202030204" pitchFamily="34" charset="0"/>
                    <a:ea typeface="Adobe Heiti Std R" pitchFamily="34" charset="-128"/>
                  </a:rPr>
                  <a:t>2</a:t>
                </a:r>
                <a:endParaRPr lang="ru-RU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endParaRPr>
              </a:p>
            </p:txBody>
          </p:sp>
        </p:grpSp>
        <p:sp>
          <p:nvSpPr>
            <p:cNvPr id="29" name="Прямоугольник 28"/>
            <p:cNvSpPr/>
            <p:nvPr/>
          </p:nvSpPr>
          <p:spPr>
            <a:xfrm>
              <a:off x="3872609" y="1935472"/>
              <a:ext cx="3873718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 smtClean="0"/>
                <a:t>Оценка внешнего вида и размеров, определение механической прочности, химической стойкости и способности сохранять свои свойства при  повышенных и пониженных температурах  </a:t>
              </a:r>
              <a:endParaRPr lang="ru-RU" sz="1000" dirty="0"/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2481229" y="962328"/>
            <a:ext cx="6219018" cy="898007"/>
            <a:chOff x="1882292" y="751823"/>
            <a:chExt cx="6219018" cy="898007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1882292" y="751823"/>
              <a:ext cx="3621149" cy="850026"/>
              <a:chOff x="5169925" y="1565676"/>
              <a:chExt cx="3621149" cy="850026"/>
            </a:xfrm>
          </p:grpSpPr>
          <p:sp>
            <p:nvSpPr>
              <p:cNvPr id="9" name="Овал 8"/>
              <p:cNvSpPr/>
              <p:nvPr/>
            </p:nvSpPr>
            <p:spPr>
              <a:xfrm>
                <a:off x="5169925" y="1566309"/>
                <a:ext cx="849393" cy="849393"/>
              </a:xfrm>
              <a:prstGeom prst="ellipse">
                <a:avLst/>
              </a:prstGeom>
              <a:gradFill flip="none" rotWithShape="1">
                <a:gsLst>
                  <a:gs pos="0">
                    <a:srgbClr val="99CC00">
                      <a:shade val="30000"/>
                      <a:satMod val="115000"/>
                    </a:srgbClr>
                  </a:gs>
                  <a:gs pos="50000">
                    <a:srgbClr val="99CC00">
                      <a:shade val="67500"/>
                      <a:satMod val="115000"/>
                    </a:srgbClr>
                  </a:gs>
                  <a:gs pos="100000">
                    <a:srgbClr val="99CC00">
                      <a:shade val="100000"/>
                      <a:satMod val="115000"/>
                    </a:srgbClr>
                  </a:gs>
                </a:gsLst>
                <a:lin ang="27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Круговая стрелка 9"/>
              <p:cNvSpPr/>
              <p:nvPr/>
            </p:nvSpPr>
            <p:spPr>
              <a:xfrm rot="18900000">
                <a:off x="5197168" y="1593552"/>
                <a:ext cx="794907" cy="794907"/>
              </a:xfrm>
              <a:prstGeom prst="circularArrow">
                <a:avLst>
                  <a:gd name="adj1" fmla="val 25000"/>
                  <a:gd name="adj2" fmla="val 171788"/>
                  <a:gd name="adj3" fmla="val 20681299"/>
                  <a:gd name="adj4" fmla="val 10800000"/>
                  <a:gd name="adj5" fmla="val 3340"/>
                </a:avLst>
              </a:prstGeom>
              <a:solidFill>
                <a:schemeClr val="bg1"/>
              </a:solidFill>
              <a:ln>
                <a:noFill/>
                <a:prstDash val="dash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" name="Прямоугольник 10"/>
              <p:cNvSpPr/>
              <p:nvPr/>
            </p:nvSpPr>
            <p:spPr>
              <a:xfrm>
                <a:off x="6018842" y="1565676"/>
                <a:ext cx="2772232" cy="2585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533400">
                  <a:lnSpc>
                    <a:spcPct val="90000"/>
                  </a:lnSpc>
                  <a:spcAft>
                    <a:spcPct val="35000"/>
                  </a:spcAft>
                </a:pPr>
                <a:r>
                  <a:rPr lang="ru-RU" sz="1200" b="1" dirty="0" smtClean="0">
                    <a:solidFill>
                      <a:prstClr val="black">
                        <a:lumMod val="85000"/>
                        <a:lumOff val="15000"/>
                      </a:prstClr>
                    </a:solidFill>
                  </a:rPr>
                  <a:t>Испытания плёнок</a:t>
                </a:r>
                <a:endParaRPr lang="ru-RU" sz="1200" b="1" dirty="0">
                  <a:solidFill>
                    <a:prstClr val="black">
                      <a:lumMod val="85000"/>
                      <a:lumOff val="15000"/>
                    </a:prstClr>
                  </a:solidFill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5346401" y="1727160"/>
                <a:ext cx="51167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dirty="0">
                    <a:solidFill>
                      <a:prstClr val="white"/>
                    </a:solidFill>
                    <a:latin typeface="Arial Narrow" panose="020B0606020202030204" pitchFamily="34" charset="0"/>
                    <a:ea typeface="Adobe Heiti Std R" pitchFamily="34" charset="-128"/>
                  </a:rPr>
                  <a:t>01</a:t>
                </a:r>
                <a:endParaRPr lang="ru-RU" sz="2800" dirty="0">
                  <a:solidFill>
                    <a:prstClr val="white"/>
                  </a:solidFill>
                  <a:latin typeface="Arial Narrow" panose="020B0606020202030204" pitchFamily="34" charset="0"/>
                  <a:ea typeface="Adobe Heiti Std R" pitchFamily="34" charset="-128"/>
                </a:endParaRPr>
              </a:p>
            </p:txBody>
          </p:sp>
        </p:grpSp>
        <p:sp>
          <p:nvSpPr>
            <p:cNvPr id="31" name="Прямоугольник 30"/>
            <p:cNvSpPr/>
            <p:nvPr/>
          </p:nvSpPr>
          <p:spPr>
            <a:xfrm>
              <a:off x="2731209" y="941944"/>
              <a:ext cx="5370101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ru-RU" sz="1000" dirty="0" smtClean="0"/>
                <a:t>Определение стойкости к воздействиям различного вида – разрыв, </a:t>
              </a:r>
              <a:r>
                <a:rPr lang="ru-RU" sz="1000" dirty="0" err="1" smtClean="0"/>
                <a:t>раздир</a:t>
              </a:r>
              <a:r>
                <a:rPr lang="ru-RU" sz="1000" dirty="0" smtClean="0"/>
                <a:t>, прокол - дает понять о самых важных для потребителя эксплуатационных свойствах, а оценка адгезионных и сварных свойств поможет оценить, насколько хорошо будет перерабатываться материал у производителя готовой продукции </a:t>
              </a:r>
              <a:endParaRPr lang="ru-RU" sz="1000" dirty="0"/>
            </a:p>
          </p:txBody>
        </p:sp>
      </p:grpSp>
      <p:sp>
        <p:nvSpPr>
          <p:cNvPr id="38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>
            <a:normAutofit/>
          </a:bodyPr>
          <a:lstStyle/>
          <a:p>
            <a:r>
              <a:rPr lang="ru-RU" dirty="0"/>
              <a:t>Испытания готовых </a:t>
            </a:r>
            <a:r>
              <a:rPr lang="ru-RU" dirty="0" smtClean="0"/>
              <a:t>изделий</a:t>
            </a:r>
            <a:endParaRPr lang="ru-RU" dirty="0"/>
          </a:p>
        </p:txBody>
      </p:sp>
      <p:pic>
        <p:nvPicPr>
          <p:cNvPr id="39" name="Picture 8" descr="C:\Users\AslanyanAS\Desktop\Картинки\54534737_24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5561" r="31741" b="7913"/>
          <a:stretch/>
        </p:blipFill>
        <p:spPr bwMode="auto">
          <a:xfrm>
            <a:off x="1064587" y="1540905"/>
            <a:ext cx="1312265" cy="78402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" descr="C:\Users\StrahovMV\Desktop\3. ПАПКИ\ИНТЕРПЛАСТИКА\ВЕРНИГОРОВ\ФОТО ИНТЕРПЛАСТИКА\04_Depositphotos_2660814_original-small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" t="2697" r="140" b="7573"/>
          <a:stretch/>
        </p:blipFill>
        <p:spPr bwMode="auto">
          <a:xfrm>
            <a:off x="1064587" y="2448049"/>
            <a:ext cx="1301655" cy="77768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2" name="Группа 41"/>
          <p:cNvGrpSpPr>
            <a:grpSpLocks noChangeAspect="1"/>
          </p:cNvGrpSpPr>
          <p:nvPr/>
        </p:nvGrpSpPr>
        <p:grpSpPr>
          <a:xfrm>
            <a:off x="1053718" y="3349316"/>
            <a:ext cx="1312524" cy="784178"/>
            <a:chOff x="1981661" y="1138753"/>
            <a:chExt cx="5039670" cy="3010989"/>
          </a:xfrm>
        </p:grpSpPr>
        <p:pic>
          <p:nvPicPr>
            <p:cNvPr id="43" name="Picture 7" descr="C:\Users\AslanyanAS\Desktop\Картинки\Pipe_2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9" t="12630" b="4605"/>
            <a:stretch/>
          </p:blipFill>
          <p:spPr bwMode="auto">
            <a:xfrm>
              <a:off x="1981661" y="1138753"/>
              <a:ext cx="5039670" cy="3010989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Прямоугольник 43"/>
            <p:cNvSpPr/>
            <p:nvPr/>
          </p:nvSpPr>
          <p:spPr bwMode="auto">
            <a:xfrm>
              <a:off x="2425485" y="1952787"/>
              <a:ext cx="689675" cy="278969"/>
            </a:xfrm>
            <a:prstGeom prst="roundRect">
              <a:avLst/>
            </a:prstGeom>
            <a:solidFill>
              <a:srgbClr val="A9B6B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 bwMode="auto">
            <a:xfrm>
              <a:off x="2159430" y="3120326"/>
              <a:ext cx="689675" cy="278969"/>
            </a:xfrm>
            <a:prstGeom prst="roundRect">
              <a:avLst/>
            </a:prstGeom>
            <a:solidFill>
              <a:srgbClr val="A5B0B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6" name="Номер слайда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425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C:\Users\AslanyanAS\Desktop\Картинки\54534737_24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5561" r="31741" b="7913"/>
          <a:stretch/>
        </p:blipFill>
        <p:spPr bwMode="auto">
          <a:xfrm>
            <a:off x="2017881" y="1045772"/>
            <a:ext cx="5108238" cy="3051957"/>
          </a:xfrm>
          <a:prstGeom prst="roundRect">
            <a:avLst>
              <a:gd name="adj" fmla="val 1907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017881" y="685772"/>
            <a:ext cx="5108238" cy="360000"/>
          </a:xfrm>
        </p:spPr>
        <p:txBody>
          <a:bodyPr anchor="ctr">
            <a:normAutofit/>
          </a:bodyPr>
          <a:lstStyle/>
          <a:p>
            <a:pPr algn="ctr"/>
            <a:r>
              <a:rPr lang="ru-RU" sz="2000" dirty="0" smtClean="0"/>
              <a:t>Испытания плёнок</a:t>
            </a:r>
            <a:endParaRPr lang="ru-RU" sz="2000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8947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U0U8xCTpirriD1qjQd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hLYffRO0SAnt0uQktW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BUR_16:9_Внешний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805</_dlc_DocId>
    <_dlc_DocIdUrl xmlns="7bda88f5-81ee-4ce0-acd0-0fc58edecc95">
      <Url>https://sharepoint/portals/template/_layouts/15/DocIdRedir.aspx?ID=E76AX7DTSNFM-10-805</Url>
      <Description>E76AX7DTSNFM-10-805</Description>
    </_dlc_DocIdUrl>
    <_x041e__x043f__x0438__x0441__x0430__x043d__x0438__x0435_ xmlns="9b0c9865-9e5f-4a19-8def-db8deaed8a57" xsi:nil="true"/>
  </documentManagement>
</p:properties>
</file>

<file path=customXml/itemProps1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20A7FD75-1E90-43D2-ABF1-A6C12E8540AE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7bda88f5-81ee-4ce0-acd0-0fc58edecc95"/>
    <ds:schemaRef ds:uri="9b0c9865-9e5f-4a19-8def-db8deaed8a57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7702</TotalTime>
  <Words>4652</Words>
  <Application>Microsoft Office PowerPoint</Application>
  <PresentationFormat>Экран (16:9)</PresentationFormat>
  <Paragraphs>715</Paragraphs>
  <Slides>50</Slides>
  <Notes>14</Notes>
  <HiddenSlides>1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0</vt:i4>
      </vt:variant>
    </vt:vector>
  </HeadingPairs>
  <TitlesOfParts>
    <vt:vector size="61" baseType="lpstr">
      <vt:lpstr>Adobe Heiti Std R</vt:lpstr>
      <vt:lpstr>Arial</vt:lpstr>
      <vt:lpstr>Arial Narrow</vt:lpstr>
      <vt:lpstr>Calibri</vt:lpstr>
      <vt:lpstr>Cambria Math</vt:lpstr>
      <vt:lpstr>ProximaNova</vt:lpstr>
      <vt:lpstr>Times New Roman</vt:lpstr>
      <vt:lpstr>TodaySB</vt:lpstr>
      <vt:lpstr>Wingdings</vt:lpstr>
      <vt:lpstr>SIBUR_16:9_Внешний</vt:lpstr>
      <vt:lpstr>think-cell Slide</vt:lpstr>
      <vt:lpstr>Рекламационный анализ: принципы, методы исследования</vt:lpstr>
      <vt:lpstr>Презентация PowerPoint</vt:lpstr>
      <vt:lpstr>Презентация PowerPoint</vt:lpstr>
      <vt:lpstr>Презентация PowerPoint</vt:lpstr>
      <vt:lpstr>Для чего нужны исследования полимеров?</vt:lpstr>
      <vt:lpstr>Основные этапы расследования</vt:lpstr>
      <vt:lpstr>Как мы испытываем полимеры?</vt:lpstr>
      <vt:lpstr>Испытания готовых изделий</vt:lpstr>
      <vt:lpstr>Испытания плёнок</vt:lpstr>
      <vt:lpstr>Важнейшие эксплуатационные свойства пленок</vt:lpstr>
      <vt:lpstr>Оценка прочности плёнок: определение прочности при раздире</vt:lpstr>
      <vt:lpstr>Оценка прочности плёнок: определение ударной прочности плёнок</vt:lpstr>
      <vt:lpstr>Определение блокирующей силы</vt:lpstr>
      <vt:lpstr>Оценка сварных свойств пленок</vt:lpstr>
      <vt:lpstr>Важнейшие эксплуатационные свойства пленок</vt:lpstr>
      <vt:lpstr>Важнейшие эксплуатационные свойства пленок</vt:lpstr>
      <vt:lpstr>Барьерные свойства пленок </vt:lpstr>
      <vt:lpstr>Адгезионные свойства пленок</vt:lpstr>
      <vt:lpstr>Презентация PowerPoint</vt:lpstr>
      <vt:lpstr>Контроль толщины стенки изделий</vt:lpstr>
      <vt:lpstr>Определение усадки и коробления</vt:lpstr>
      <vt:lpstr>Механическая прочность: стойкость к вертикальной нагрузке</vt:lpstr>
      <vt:lpstr>Механическая прочность: стойкость к удару при свободном падении</vt:lpstr>
      <vt:lpstr>Презентация PowerPoint</vt:lpstr>
      <vt:lpstr>Определение стойкости труб к внутреннему давлению</vt:lpstr>
      <vt:lpstr>Расчет минимальной гидростатической прочности  (MRS)</vt:lpstr>
      <vt:lpstr>Определение стойкости труб к быстрому распространению трещин</vt:lpstr>
      <vt:lpstr>Определение изменения длины трубы после прогрева</vt:lpstr>
      <vt:lpstr>Определение ударной прочности труб методом свободнопадающего груза</vt:lpstr>
      <vt:lpstr>Какими методами можно исследовать химическую структуру полимеров?</vt:lpstr>
      <vt:lpstr>Презентация PowerPoint</vt:lpstr>
      <vt:lpstr>Дифференциальная сканирующая калориметрия (ДСК)</vt:lpstr>
      <vt:lpstr>Дифференциальная сканирующая калориметрия  (характеристические температуры)</vt:lpstr>
      <vt:lpstr>Дифференциальная сканирующая калориметрия  (характеристические температуры)</vt:lpstr>
      <vt:lpstr>Вопрос: какие полимеры на графике?</vt:lpstr>
      <vt:lpstr>Дифференциальная сканирующая калориметрия (идентификация полимера)</vt:lpstr>
      <vt:lpstr>Дифференциальная сканирующая калориметрия (эффект нуклеатора)</vt:lpstr>
      <vt:lpstr>Инфракрасная спектроскопия</vt:lpstr>
      <vt:lpstr>Инфракрасная спектроскопия</vt:lpstr>
      <vt:lpstr>Хроматография</vt:lpstr>
      <vt:lpstr>Гель-проникающая хроматография</vt:lpstr>
      <vt:lpstr>Препаративные методы</vt:lpstr>
      <vt:lpstr>Препаративные методы</vt:lpstr>
      <vt:lpstr>Оптическая и электронная микроскопия</vt:lpstr>
      <vt:lpstr>    Оптическая микроскопия (оценка степени распределения технического углерода)</vt:lpstr>
      <vt:lpstr>Оптическая микроскопия (оценка степени распределения технического углерода)</vt:lpstr>
      <vt:lpstr>Идентификация включений методом СЭМ</vt:lpstr>
      <vt:lpstr>Презентация PowerPoint</vt:lpstr>
      <vt:lpstr>Презентация PowerPoint</vt:lpstr>
      <vt:lpstr>Технологические испытания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Асланян Артур Самвелович</cp:lastModifiedBy>
  <cp:revision>790</cp:revision>
  <cp:lastPrinted>2022-03-25T13:38:17Z</cp:lastPrinted>
  <dcterms:created xsi:type="dcterms:W3CDTF">2017-07-26T15:34:06Z</dcterms:created>
  <dcterms:modified xsi:type="dcterms:W3CDTF">2022-03-31T08:0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b4891c04-bd77-4882-9f7a-e6eff6c19009</vt:lpwstr>
  </property>
</Properties>
</file>